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1"/>
  </p:sldMasterIdLst>
  <p:notesMasterIdLst>
    <p:notesMasterId r:id="rId19"/>
  </p:notesMasterIdLst>
  <p:handoutMasterIdLst>
    <p:handoutMasterId r:id="rId20"/>
  </p:handoutMasterIdLst>
  <p:sldIdLst>
    <p:sldId id="271" r:id="rId2"/>
    <p:sldId id="257" r:id="rId3"/>
    <p:sldId id="272" r:id="rId4"/>
    <p:sldId id="258" r:id="rId5"/>
    <p:sldId id="281" r:id="rId6"/>
    <p:sldId id="259" r:id="rId7"/>
    <p:sldId id="274" r:id="rId8"/>
    <p:sldId id="279" r:id="rId9"/>
    <p:sldId id="283" r:id="rId10"/>
    <p:sldId id="275" r:id="rId11"/>
    <p:sldId id="276" r:id="rId12"/>
    <p:sldId id="277" r:id="rId13"/>
    <p:sldId id="282" r:id="rId14"/>
    <p:sldId id="278" r:id="rId15"/>
    <p:sldId id="280" r:id="rId16"/>
    <p:sldId id="273" r:id="rId17"/>
    <p:sldId id="270" r:id="rId18"/>
  </p:sldIdLst>
  <p:sldSz cx="12192000" cy="6858000"/>
  <p:notesSz cx="6858000" cy="9144000"/>
  <p:custDataLst>
    <p:tags r:id="rId22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rt + Titeldia" id="{4EFEB6C4-4E67-492B-83ED-09BB5F5E54D6}">
          <p14:sldIdLst>
            <p14:sldId id="271"/>
          </p14:sldIdLst>
        </p14:section>
        <p14:section name="Agenda" id="{EB02E176-1720-4CDA-A9CC-8476750ACCA9}">
          <p14:sldIdLst>
            <p14:sldId id="257"/>
          </p14:sldIdLst>
        </p14:section>
        <p14:section name="Tekst en Beeld" id="{5C7FB790-3A5D-40FB-B96F-F06A8CA28F58}">
          <p14:sldIdLst>
            <p14:sldId id="272"/>
            <p14:sldId id="258"/>
            <p14:sldId id="281"/>
            <p14:sldId id="259"/>
            <p14:sldId id="274"/>
            <p14:sldId id="279"/>
            <p14:sldId id="283"/>
            <p14:sldId id="275"/>
            <p14:sldId id="276"/>
            <p14:sldId id="277"/>
            <p14:sldId id="282"/>
            <p14:sldId id="278"/>
            <p14:sldId id="280"/>
          </p14:sldIdLst>
        </p14:section>
        <p14:section name="Mediabestanden" id="{6B6598B5-6AC8-485B-9C37-C8FD6CCB7CFF}">
          <p14:sldIdLst/>
        </p14:section>
        <p14:section name="Tabellen en Grafieken" id="{237C9B0A-BB8D-494D-9C1E-E462B39F80AD}">
          <p14:sldIdLst/>
        </p14:section>
        <p14:section name="Vragen &amp; afsluiting" id="{790815B1-2182-4D67-8F44-B81712724B2B}">
          <p14:sldIdLst>
            <p14:sldId id="273"/>
            <p14:sldId id="270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26465"/>
    <a:srgbClr val="0062A9"/>
    <a:srgbClr val="0DB3B5"/>
    <a:srgbClr val="0864A8"/>
    <a:srgbClr val="178E43"/>
    <a:srgbClr val="EA4A27"/>
    <a:srgbClr val="001536"/>
    <a:srgbClr val="656565"/>
    <a:srgbClr val="3560AB"/>
    <a:srgbClr val="0021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69" autoAdjust="0"/>
    <p:restoredTop sz="80186" autoAdjust="0"/>
  </p:normalViewPr>
  <p:slideViewPr>
    <p:cSldViewPr snapToGrid="0" showGuides="1">
      <p:cViewPr>
        <p:scale>
          <a:sx n="116" d="100"/>
          <a:sy n="116" d="100"/>
        </p:scale>
        <p:origin x="-336" y="61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howGuides="1">
      <p:cViewPr varScale="1">
        <p:scale>
          <a:sx n="106" d="100"/>
          <a:sy n="106" d="100"/>
        </p:scale>
        <p:origin x="-4544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handoutMaster" Target="handoutMasters/handoutMaster1.xml"/><Relationship Id="rId21" Type="http://schemas.openxmlformats.org/officeDocument/2006/relationships/printerSettings" Target="printerSettings/printerSettings1.bin"/><Relationship Id="rId22" Type="http://schemas.openxmlformats.org/officeDocument/2006/relationships/tags" Target="tags/tag1.xml"/><Relationship Id="rId23" Type="http://schemas.openxmlformats.org/officeDocument/2006/relationships/presProps" Target="presProps.xml"/><Relationship Id="rId24" Type="http://schemas.openxmlformats.org/officeDocument/2006/relationships/viewProps" Target="viewProps.xml"/><Relationship Id="rId25" Type="http://schemas.openxmlformats.org/officeDocument/2006/relationships/theme" Target="theme/theme1.xml"/><Relationship Id="rId2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4232DE-8C5F-4178-AA73-5BBFA247078F}" type="datetimeFigureOut">
              <a:rPr lang="nl-NL" smtClean="0"/>
              <a:t>29-03-16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10F3A7-C9E4-4071-B2F5-015428B6B449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476737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62EBAE-29D1-4DD0-8BEB-0AC11FD72FA6}" type="datetimeFigureOut">
              <a:rPr lang="en-GB" smtClean="0"/>
              <a:t>29-03-16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5642C7-031D-4E40-B5EB-9465C999AF8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0158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35964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73324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733249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Y-</a:t>
            </a:r>
            <a:r>
              <a:rPr lang="nl-NL" dirty="0" err="1" smtClean="0"/>
              <a:t>axis</a:t>
            </a:r>
            <a:r>
              <a:rPr lang="nl-NL" dirty="0" smtClean="0"/>
              <a:t> is 10-millions</a:t>
            </a:r>
          </a:p>
          <a:p>
            <a:r>
              <a:rPr lang="nl-NL" dirty="0" err="1" smtClean="0"/>
              <a:t>Calculated</a:t>
            </a:r>
            <a:r>
              <a:rPr lang="nl-NL" dirty="0" smtClean="0"/>
              <a:t> percentage </a:t>
            </a:r>
            <a:r>
              <a:rPr lang="nl-NL" dirty="0" err="1" smtClean="0"/>
              <a:t>by</a:t>
            </a:r>
            <a:r>
              <a:rPr lang="nl-NL" dirty="0" smtClean="0"/>
              <a:t> first </a:t>
            </a:r>
            <a:r>
              <a:rPr lang="nl-NL" dirty="0" err="1" smtClean="0"/>
              <a:t>removing</a:t>
            </a:r>
            <a:r>
              <a:rPr lang="nl-NL" baseline="0" dirty="0" smtClean="0"/>
              <a:t> </a:t>
            </a:r>
            <a:r>
              <a:rPr lang="nl-NL" baseline="0" dirty="0" err="1" smtClean="0"/>
              <a:t>outliers</a:t>
            </a:r>
            <a:r>
              <a:rPr lang="nl-NL" baseline="0" dirty="0" smtClean="0"/>
              <a:t> &gt; 20 </a:t>
            </a:r>
            <a:r>
              <a:rPr lang="nl-NL" baseline="0" dirty="0" err="1" smtClean="0"/>
              <a:t>million</a:t>
            </a:r>
            <a:endParaRPr lang="nl-NL" baseline="0" dirty="0" smtClean="0"/>
          </a:p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73324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Y-</a:t>
            </a:r>
            <a:r>
              <a:rPr lang="nl-NL" dirty="0" err="1" smtClean="0"/>
              <a:t>axis</a:t>
            </a:r>
            <a:r>
              <a:rPr lang="nl-NL" dirty="0" smtClean="0"/>
              <a:t> is 10-millions</a:t>
            </a:r>
          </a:p>
          <a:p>
            <a:r>
              <a:rPr lang="nl-NL" dirty="0" err="1" smtClean="0"/>
              <a:t>Calculated</a:t>
            </a:r>
            <a:r>
              <a:rPr lang="nl-NL" dirty="0" smtClean="0"/>
              <a:t> percentage </a:t>
            </a:r>
            <a:r>
              <a:rPr lang="nl-NL" dirty="0" err="1" smtClean="0"/>
              <a:t>by</a:t>
            </a:r>
            <a:r>
              <a:rPr lang="nl-NL" dirty="0" smtClean="0"/>
              <a:t> first </a:t>
            </a:r>
            <a:r>
              <a:rPr lang="nl-NL" dirty="0" err="1" smtClean="0"/>
              <a:t>removing</a:t>
            </a:r>
            <a:r>
              <a:rPr lang="nl-NL" baseline="0" dirty="0" smtClean="0"/>
              <a:t> </a:t>
            </a:r>
            <a:r>
              <a:rPr lang="nl-NL" baseline="0" dirty="0" err="1" smtClean="0"/>
              <a:t>outliers</a:t>
            </a:r>
            <a:r>
              <a:rPr lang="nl-NL" baseline="0" dirty="0" smtClean="0"/>
              <a:t> &gt; 30 </a:t>
            </a:r>
            <a:r>
              <a:rPr lang="nl-NL" baseline="0" dirty="0" err="1" smtClean="0"/>
              <a:t>million</a:t>
            </a:r>
            <a:endParaRPr lang="nl-NL" baseline="0" dirty="0" smtClean="0"/>
          </a:p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73324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 smtClean="0"/>
              <a:t>Domainers</a:t>
            </a:r>
            <a:r>
              <a:rPr lang="nl-NL" dirty="0" smtClean="0"/>
              <a:t> check large </a:t>
            </a:r>
            <a:r>
              <a:rPr lang="nl-NL" dirty="0" err="1" smtClean="0"/>
              <a:t>parts</a:t>
            </a:r>
            <a:r>
              <a:rPr lang="nl-NL" dirty="0" smtClean="0"/>
              <a:t> of the zone </a:t>
            </a:r>
            <a:r>
              <a:rPr lang="nl-NL" dirty="0" err="1" smtClean="0"/>
              <a:t>every</a:t>
            </a:r>
            <a:r>
              <a:rPr lang="nl-NL" dirty="0" smtClean="0"/>
              <a:t> time the zone file is </a:t>
            </a:r>
            <a:r>
              <a:rPr lang="nl-NL" dirty="0" err="1" smtClean="0"/>
              <a:t>updated</a:t>
            </a:r>
            <a:r>
              <a:rPr lang="nl-NL" dirty="0" smtClean="0"/>
              <a:t>, </a:t>
            </a:r>
            <a:r>
              <a:rPr lang="nl-NL" dirty="0" err="1" smtClean="0"/>
              <a:t>this</a:t>
            </a:r>
            <a:r>
              <a:rPr lang="nl-NL" dirty="0" smtClean="0"/>
              <a:t> </a:t>
            </a:r>
            <a:r>
              <a:rPr lang="nl-NL" dirty="0" err="1" smtClean="0"/>
              <a:t>causes</a:t>
            </a:r>
            <a:r>
              <a:rPr lang="nl-NL" dirty="0" smtClean="0"/>
              <a:t> </a:t>
            </a:r>
            <a:r>
              <a:rPr lang="nl-NL" dirty="0" err="1" smtClean="0"/>
              <a:t>peaks</a:t>
            </a:r>
            <a:r>
              <a:rPr lang="nl-NL" dirty="0" smtClean="0"/>
              <a:t> </a:t>
            </a:r>
            <a:r>
              <a:rPr lang="nl-NL" dirty="0" err="1" smtClean="0"/>
              <a:t>every</a:t>
            </a:r>
            <a:r>
              <a:rPr lang="nl-NL" dirty="0" smtClean="0"/>
              <a:t> 2 </a:t>
            </a:r>
            <a:r>
              <a:rPr lang="nl-NL" dirty="0" err="1" smtClean="0"/>
              <a:t>hours</a:t>
            </a:r>
            <a:endParaRPr lang="nl-NL" dirty="0" smtClean="0"/>
          </a:p>
          <a:p>
            <a:r>
              <a:rPr lang="nl-NL" dirty="0" err="1" smtClean="0"/>
              <a:t>Domainers</a:t>
            </a:r>
            <a:r>
              <a:rPr lang="nl-NL" dirty="0" smtClean="0"/>
              <a:t> </a:t>
            </a:r>
            <a:r>
              <a:rPr lang="nl-NL" dirty="0" err="1" smtClean="0"/>
              <a:t>immediately</a:t>
            </a:r>
            <a:r>
              <a:rPr lang="nl-NL" dirty="0" smtClean="0"/>
              <a:t> </a:t>
            </a:r>
            <a:r>
              <a:rPr lang="nl-NL" dirty="0" err="1" smtClean="0"/>
              <a:t>detect</a:t>
            </a:r>
            <a:r>
              <a:rPr lang="nl-NL" dirty="0" smtClean="0"/>
              <a:t> change in TTL </a:t>
            </a:r>
            <a:r>
              <a:rPr lang="nl-NL" dirty="0" err="1" smtClean="0"/>
              <a:t>and</a:t>
            </a:r>
            <a:r>
              <a:rPr lang="nl-NL" baseline="0" dirty="0" smtClean="0"/>
              <a:t> </a:t>
            </a:r>
            <a:r>
              <a:rPr lang="nl-NL" baseline="0" dirty="0" err="1" smtClean="0"/>
              <a:t>increas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eir</a:t>
            </a:r>
            <a:r>
              <a:rPr lang="nl-NL" baseline="0" dirty="0" smtClean="0"/>
              <a:t> zone check </a:t>
            </a:r>
            <a:r>
              <a:rPr lang="nl-NL" baseline="0" dirty="0" err="1" smtClean="0"/>
              <a:t>to</a:t>
            </a:r>
            <a:r>
              <a:rPr lang="nl-NL" baseline="0" dirty="0" smtClean="0"/>
              <a:t> </a:t>
            </a:r>
            <a:r>
              <a:rPr lang="nl-NL" baseline="0" dirty="0" err="1" smtClean="0"/>
              <a:t>once</a:t>
            </a:r>
            <a:r>
              <a:rPr lang="nl-NL" baseline="0" dirty="0" smtClean="0"/>
              <a:t> per </a:t>
            </a:r>
            <a:r>
              <a:rPr lang="nl-NL" baseline="0" dirty="0" err="1" smtClean="0"/>
              <a:t>hour</a:t>
            </a:r>
            <a:endParaRPr lang="nl-NL" dirty="0" smtClean="0"/>
          </a:p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73324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 smtClean="0"/>
              <a:t>Before</a:t>
            </a:r>
            <a:r>
              <a:rPr lang="nl-NL" dirty="0" smtClean="0"/>
              <a:t> the change we had no </a:t>
            </a:r>
            <a:r>
              <a:rPr lang="nl-NL" dirty="0" err="1" smtClean="0"/>
              <a:t>clear</a:t>
            </a:r>
            <a:r>
              <a:rPr lang="nl-NL" dirty="0" smtClean="0"/>
              <a:t> </a:t>
            </a:r>
            <a:r>
              <a:rPr lang="nl-NL" dirty="0" err="1" smtClean="0"/>
              <a:t>expectations</a:t>
            </a:r>
            <a:r>
              <a:rPr lang="nl-NL" baseline="0" dirty="0" smtClean="0"/>
              <a:t> </a:t>
            </a:r>
            <a:r>
              <a:rPr lang="nl-NL" baseline="0" dirty="0" err="1" smtClean="0"/>
              <a:t>about</a:t>
            </a:r>
            <a:r>
              <a:rPr lang="nl-NL" baseline="0" dirty="0" smtClean="0"/>
              <a:t> the effect </a:t>
            </a:r>
            <a:r>
              <a:rPr lang="nl-NL" baseline="0" dirty="0" err="1" smtClean="0"/>
              <a:t>other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an</a:t>
            </a:r>
            <a:r>
              <a:rPr lang="nl-NL" baseline="0" dirty="0" smtClean="0"/>
              <a:t>: “we </a:t>
            </a:r>
            <a:r>
              <a:rPr lang="nl-NL" baseline="0" dirty="0" err="1" smtClean="0"/>
              <a:t>probably</a:t>
            </a:r>
            <a:r>
              <a:rPr lang="nl-NL" baseline="0" dirty="0" smtClean="0"/>
              <a:t> get </a:t>
            </a:r>
            <a:r>
              <a:rPr lang="nl-NL" baseline="0" dirty="0" err="1" smtClean="0"/>
              <a:t>some</a:t>
            </a:r>
            <a:r>
              <a:rPr lang="nl-NL" baseline="0" dirty="0" smtClean="0"/>
              <a:t> more queries”</a:t>
            </a:r>
          </a:p>
          <a:p>
            <a:r>
              <a:rPr lang="nl-NL" baseline="0" dirty="0" err="1" smtClean="0"/>
              <a:t>With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is</a:t>
            </a:r>
            <a:r>
              <a:rPr lang="nl-NL" baseline="0" dirty="0" smtClean="0"/>
              <a:t> </a:t>
            </a:r>
            <a:r>
              <a:rPr lang="nl-NL" baseline="0" dirty="0" err="1" smtClean="0"/>
              <a:t>knowledge</a:t>
            </a:r>
            <a:r>
              <a:rPr lang="nl-NL" baseline="0" dirty="0" smtClean="0"/>
              <a:t> of </a:t>
            </a:r>
            <a:r>
              <a:rPr lang="nl-NL" baseline="0" dirty="0" err="1" smtClean="0"/>
              <a:t>how</a:t>
            </a:r>
            <a:r>
              <a:rPr lang="nl-NL" baseline="0" dirty="0" smtClean="0"/>
              <a:t> DNS </a:t>
            </a:r>
            <a:r>
              <a:rPr lang="nl-NL" baseline="0" dirty="0" err="1" smtClean="0"/>
              <a:t>traffics</a:t>
            </a:r>
            <a:r>
              <a:rPr lang="nl-NL" baseline="0" dirty="0" smtClean="0"/>
              <a:t> </a:t>
            </a:r>
            <a:r>
              <a:rPr lang="nl-NL" baseline="0" dirty="0" err="1" smtClean="0"/>
              <a:t>reacts</a:t>
            </a:r>
            <a:r>
              <a:rPr lang="nl-NL" baseline="0" dirty="0" smtClean="0"/>
              <a:t>, we </a:t>
            </a:r>
            <a:r>
              <a:rPr lang="nl-NL" baseline="0" dirty="0" err="1" smtClean="0"/>
              <a:t>can</a:t>
            </a:r>
            <a:r>
              <a:rPr lang="nl-NL" baseline="0" dirty="0" smtClean="0"/>
              <a:t> plan </a:t>
            </a:r>
            <a:r>
              <a:rPr lang="nl-NL" baseline="0" dirty="0" err="1" smtClean="0"/>
              <a:t>future</a:t>
            </a:r>
            <a:r>
              <a:rPr lang="nl-NL" baseline="0" dirty="0" smtClean="0"/>
              <a:t> TTL changes </a:t>
            </a:r>
            <a:r>
              <a:rPr lang="nl-NL" baseline="0" dirty="0" err="1" smtClean="0"/>
              <a:t>better</a:t>
            </a:r>
            <a:r>
              <a:rPr lang="nl-NL" baseline="0" smtClean="0"/>
              <a:t>.</a:t>
            </a:r>
          </a:p>
          <a:p>
            <a:endParaRPr lang="nl-NL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baseline="0" dirty="0" err="1" smtClean="0"/>
              <a:t>Discussion</a:t>
            </a:r>
            <a:r>
              <a:rPr lang="nl-NL" baseline="0" dirty="0" smtClean="0"/>
              <a:t> starts </a:t>
            </a:r>
            <a:r>
              <a:rPr lang="nl-NL" baseline="0" dirty="0" err="1" smtClean="0"/>
              <a:t>with</a:t>
            </a:r>
            <a:r>
              <a:rPr lang="nl-NL" baseline="0" dirty="0" smtClean="0"/>
              <a:t>: “</a:t>
            </a:r>
            <a:r>
              <a:rPr lang="en-GB" sz="1200" dirty="0" smtClean="0"/>
              <a:t>We are interested in the experiences of other DNS operators and registries with similar changes</a:t>
            </a:r>
            <a:r>
              <a:rPr lang="nl-NL" baseline="0" dirty="0" smtClean="0"/>
              <a:t>”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73324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See </a:t>
            </a:r>
            <a:r>
              <a:rPr lang="nl-NL" dirty="0" err="1" smtClean="0"/>
              <a:t>our</a:t>
            </a:r>
            <a:r>
              <a:rPr lang="nl-NL" baseline="0" dirty="0" smtClean="0"/>
              <a:t> website </a:t>
            </a:r>
            <a:r>
              <a:rPr lang="nl-NL" baseline="0" dirty="0" err="1" smtClean="0"/>
              <a:t>for</a:t>
            </a:r>
            <a:r>
              <a:rPr lang="nl-NL" baseline="0" dirty="0" smtClean="0"/>
              <a:t> more information </a:t>
            </a:r>
            <a:r>
              <a:rPr lang="nl-NL" baseline="0" dirty="0" err="1" smtClean="0"/>
              <a:t>about</a:t>
            </a:r>
            <a:r>
              <a:rPr lang="nl-NL" baseline="0" dirty="0" smtClean="0"/>
              <a:t> </a:t>
            </a:r>
            <a:r>
              <a:rPr lang="nl-NL" baseline="0" dirty="0" err="1" smtClean="0"/>
              <a:t>sidn</a:t>
            </a:r>
            <a:r>
              <a:rPr lang="nl-NL" baseline="0" dirty="0" smtClean="0"/>
              <a:t> labs </a:t>
            </a:r>
            <a:r>
              <a:rPr lang="nl-NL" baseline="0" dirty="0" err="1" smtClean="0"/>
              <a:t>and</a:t>
            </a:r>
            <a:r>
              <a:rPr lang="nl-NL" baseline="0" dirty="0" smtClean="0"/>
              <a:t> </a:t>
            </a:r>
            <a:r>
              <a:rPr lang="nl-NL" baseline="0" dirty="0" err="1" smtClean="0"/>
              <a:t>our</a:t>
            </a:r>
            <a:r>
              <a:rPr lang="nl-NL" baseline="0" dirty="0" smtClean="0"/>
              <a:t> </a:t>
            </a:r>
            <a:r>
              <a:rPr lang="nl-NL" baseline="0" dirty="0" err="1" smtClean="0"/>
              <a:t>blogpost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99331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- </a:t>
            </a:r>
            <a:r>
              <a:rPr lang="nl-NL" dirty="0" err="1" smtClean="0"/>
              <a:t>Sidn</a:t>
            </a:r>
            <a:r>
              <a:rPr lang="nl-NL" dirty="0" smtClean="0"/>
              <a:t> is the domain name </a:t>
            </a:r>
            <a:r>
              <a:rPr lang="nl-NL" dirty="0" err="1" smtClean="0"/>
              <a:t>Registry</a:t>
            </a:r>
            <a:r>
              <a:rPr lang="nl-NL" dirty="0" smtClean="0"/>
              <a:t> </a:t>
            </a:r>
            <a:r>
              <a:rPr lang="nl-NL" dirty="0" err="1" smtClean="0"/>
              <a:t>for</a:t>
            </a:r>
            <a:r>
              <a:rPr lang="nl-NL" dirty="0" smtClean="0"/>
              <a:t> the .nl </a:t>
            </a:r>
            <a:r>
              <a:rPr lang="nl-NL" dirty="0" err="1" smtClean="0"/>
              <a:t>cctld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is </a:t>
            </a:r>
            <a:r>
              <a:rPr lang="nl-NL" dirty="0" err="1" smtClean="0"/>
              <a:t>responsibl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for</a:t>
            </a:r>
            <a:r>
              <a:rPr lang="nl-NL" baseline="0" dirty="0" smtClean="0"/>
              <a:t> the </a:t>
            </a:r>
            <a:r>
              <a:rPr lang="nl-NL" baseline="0" dirty="0" err="1" smtClean="0"/>
              <a:t>registration</a:t>
            </a:r>
            <a:r>
              <a:rPr lang="nl-NL" baseline="0" dirty="0" smtClean="0"/>
              <a:t> </a:t>
            </a:r>
            <a:r>
              <a:rPr lang="nl-NL" baseline="0" dirty="0" err="1" smtClean="0"/>
              <a:t>and</a:t>
            </a:r>
            <a:r>
              <a:rPr lang="nl-NL" baseline="0" dirty="0" smtClean="0"/>
              <a:t> </a:t>
            </a:r>
            <a:r>
              <a:rPr lang="nl-NL" baseline="0" dirty="0" err="1" smtClean="0"/>
              <a:t>delegation</a:t>
            </a:r>
            <a:r>
              <a:rPr lang="nl-NL" baseline="0" dirty="0" smtClean="0"/>
              <a:t> of .nl domain </a:t>
            </a:r>
            <a:r>
              <a:rPr lang="nl-NL" baseline="0" dirty="0" err="1" smtClean="0"/>
              <a:t>names</a:t>
            </a:r>
            <a:r>
              <a:rPr lang="nl-NL" baseline="0" dirty="0" smtClean="0"/>
              <a:t>.</a:t>
            </a:r>
            <a:endParaRPr lang="nl-NL" dirty="0" smtClean="0"/>
          </a:p>
          <a:p>
            <a:r>
              <a:rPr lang="nl-NL" dirty="0" smtClean="0"/>
              <a:t>- </a:t>
            </a:r>
            <a:r>
              <a:rPr lang="nl-NL" dirty="0" err="1" smtClean="0"/>
              <a:t>With</a:t>
            </a:r>
            <a:r>
              <a:rPr lang="nl-NL" dirty="0" smtClean="0"/>
              <a:t> 5,6 </a:t>
            </a:r>
            <a:r>
              <a:rPr lang="nl-NL" dirty="0" err="1" smtClean="0"/>
              <a:t>million</a:t>
            </a:r>
            <a:r>
              <a:rPr lang="nl-NL" dirty="0" smtClean="0"/>
              <a:t> </a:t>
            </a:r>
            <a:r>
              <a:rPr lang="nl-NL" dirty="0" err="1" smtClean="0"/>
              <a:t>names</a:t>
            </a:r>
            <a:r>
              <a:rPr lang="nl-NL" dirty="0" smtClean="0"/>
              <a:t> the </a:t>
            </a:r>
            <a:r>
              <a:rPr lang="nl-NL" baseline="0" dirty="0" smtClean="0"/>
              <a:t>8th </a:t>
            </a:r>
            <a:r>
              <a:rPr lang="nl-NL" baseline="0" dirty="0" err="1" smtClean="0"/>
              <a:t>largest</a:t>
            </a:r>
            <a:r>
              <a:rPr lang="nl-NL" baseline="0" dirty="0" smtClean="0"/>
              <a:t> TLD </a:t>
            </a:r>
          </a:p>
          <a:p>
            <a:r>
              <a:rPr lang="nl-NL" baseline="0" dirty="0" smtClean="0"/>
              <a:t>- 2,5 </a:t>
            </a:r>
            <a:r>
              <a:rPr lang="nl-NL" dirty="0" err="1" smtClean="0"/>
              <a:t>million</a:t>
            </a:r>
            <a:r>
              <a:rPr lang="nl-NL" baseline="0" dirty="0" smtClean="0"/>
              <a:t> .nl </a:t>
            </a:r>
            <a:r>
              <a:rPr lang="nl-NL" dirty="0" smtClean="0"/>
              <a:t>domain </a:t>
            </a:r>
            <a:r>
              <a:rPr lang="nl-NL" dirty="0" err="1" smtClean="0"/>
              <a:t>names</a:t>
            </a:r>
            <a:r>
              <a:rPr lang="nl-NL" dirty="0" smtClean="0"/>
              <a:t> are </a:t>
            </a:r>
            <a:r>
              <a:rPr lang="nl-NL" dirty="0" err="1" smtClean="0"/>
              <a:t>secured</a:t>
            </a:r>
            <a:r>
              <a:rPr lang="nl-NL" dirty="0" smtClean="0"/>
              <a:t> </a:t>
            </a:r>
            <a:r>
              <a:rPr lang="nl-NL" dirty="0" err="1" smtClean="0"/>
              <a:t>with</a:t>
            </a:r>
            <a:r>
              <a:rPr lang="nl-NL" dirty="0" smtClean="0"/>
              <a:t> DNSSEC. </a:t>
            </a:r>
            <a:r>
              <a:rPr lang="nl-NL" dirty="0" err="1" smtClean="0"/>
              <a:t>This</a:t>
            </a:r>
            <a:r>
              <a:rPr lang="nl-NL" dirty="0" smtClean="0"/>
              <a:t> </a:t>
            </a:r>
            <a:r>
              <a:rPr lang="nl-NL" dirty="0" err="1" smtClean="0"/>
              <a:t>makes</a:t>
            </a:r>
            <a:r>
              <a:rPr lang="nl-NL" baseline="0" dirty="0" smtClean="0"/>
              <a:t> the .nl  zone the </a:t>
            </a:r>
            <a:r>
              <a:rPr lang="nl-NL" baseline="0" dirty="0" err="1" smtClean="0"/>
              <a:t>largest</a:t>
            </a:r>
            <a:r>
              <a:rPr lang="nl-NL" baseline="0" dirty="0" smtClean="0"/>
              <a:t> DNSSEC </a:t>
            </a:r>
            <a:r>
              <a:rPr lang="nl-NL" baseline="0" dirty="0" err="1" smtClean="0"/>
              <a:t>secured</a:t>
            </a:r>
            <a:r>
              <a:rPr lang="nl-NL" baseline="0" dirty="0" smtClean="0"/>
              <a:t>  zone in the </a:t>
            </a:r>
            <a:r>
              <a:rPr lang="nl-NL" baseline="0" dirty="0" err="1" smtClean="0"/>
              <a:t>world</a:t>
            </a:r>
            <a:r>
              <a:rPr lang="nl-NL" baseline="0" dirty="0" smtClean="0"/>
              <a:t>.</a:t>
            </a:r>
          </a:p>
          <a:p>
            <a:r>
              <a:rPr lang="nl-NL" baseline="0" dirty="0" smtClean="0"/>
              <a:t>- I </a:t>
            </a:r>
            <a:r>
              <a:rPr lang="nl-NL" baseline="0" dirty="0" err="1" smtClean="0"/>
              <a:t>am</a:t>
            </a:r>
            <a:r>
              <a:rPr lang="nl-NL" baseline="0" dirty="0" smtClean="0"/>
              <a:t> </a:t>
            </a:r>
            <a:r>
              <a:rPr lang="nl-NL" baseline="0" dirty="0" err="1" smtClean="0"/>
              <a:t>also</a:t>
            </a:r>
            <a:r>
              <a:rPr lang="nl-NL" baseline="0" dirty="0" smtClean="0"/>
              <a:t> a part of </a:t>
            </a:r>
            <a:r>
              <a:rPr lang="nl-NL" baseline="0" dirty="0" err="1" smtClean="0"/>
              <a:t>sidn</a:t>
            </a:r>
            <a:r>
              <a:rPr lang="nl-NL" baseline="0" dirty="0" smtClean="0"/>
              <a:t> labs, </a:t>
            </a:r>
            <a:r>
              <a:rPr lang="nl-NL" baseline="0" dirty="0" err="1" smtClean="0"/>
              <a:t>which</a:t>
            </a:r>
            <a:r>
              <a:rPr lang="nl-NL" baseline="0" dirty="0" smtClean="0"/>
              <a:t> is the </a:t>
            </a:r>
            <a:r>
              <a:rPr lang="nl-NL" baseline="0" dirty="0" err="1" smtClean="0"/>
              <a:t>r&amp;d</a:t>
            </a:r>
            <a:r>
              <a:rPr lang="nl-NL" baseline="0" dirty="0" smtClean="0"/>
              <a:t> team of </a:t>
            </a:r>
            <a:r>
              <a:rPr lang="nl-NL" baseline="0" dirty="0" err="1" smtClean="0"/>
              <a:t>sidn</a:t>
            </a:r>
            <a:r>
              <a:rPr lang="nl-NL" baseline="0" dirty="0" smtClean="0"/>
              <a:t> </a:t>
            </a:r>
          </a:p>
          <a:p>
            <a:r>
              <a:rPr lang="nl-NL" baseline="0" dirty="0" smtClean="0"/>
              <a:t>- goal: </a:t>
            </a:r>
            <a:r>
              <a:rPr lang="nl-NL" dirty="0" err="1" smtClean="0"/>
              <a:t>To</a:t>
            </a:r>
            <a:r>
              <a:rPr lang="nl-NL" dirty="0" smtClean="0"/>
              <a:t> help </a:t>
            </a:r>
            <a:r>
              <a:rPr lang="nl-NL" dirty="0" err="1" smtClean="0"/>
              <a:t>further</a:t>
            </a:r>
            <a:r>
              <a:rPr lang="nl-NL" dirty="0" smtClean="0"/>
              <a:t> </a:t>
            </a:r>
            <a:r>
              <a:rPr lang="nl-NL" dirty="0" err="1" smtClean="0"/>
              <a:t>increase</a:t>
            </a:r>
            <a:r>
              <a:rPr lang="nl-NL" dirty="0" smtClean="0"/>
              <a:t> the security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err="1" smtClean="0"/>
              <a:t>stability</a:t>
            </a:r>
            <a:r>
              <a:rPr lang="nl-NL" dirty="0" smtClean="0"/>
              <a:t> of the Internet in the Netherlands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err="1" smtClean="0"/>
              <a:t>beyond</a:t>
            </a:r>
            <a:endParaRPr lang="nl-NL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 err="1" smtClean="0"/>
              <a:t>With</a:t>
            </a:r>
            <a:r>
              <a:rPr lang="nl-NL" dirty="0" smtClean="0"/>
              <a:t> a focus</a:t>
            </a:r>
            <a:r>
              <a:rPr lang="nl-NL" baseline="0" dirty="0" smtClean="0"/>
              <a:t> </a:t>
            </a:r>
            <a:r>
              <a:rPr lang="nl-NL" dirty="0" smtClean="0"/>
              <a:t>on the</a:t>
            </a:r>
            <a:r>
              <a:rPr lang="nl-NL" baseline="0" dirty="0" smtClean="0"/>
              <a:t> DNS </a:t>
            </a:r>
            <a:r>
              <a:rPr lang="nl-NL" baseline="0" dirty="0" err="1" smtClean="0"/>
              <a:t>and</a:t>
            </a:r>
            <a:r>
              <a:rPr lang="nl-NL" baseline="0" dirty="0" smtClean="0"/>
              <a:t> </a:t>
            </a:r>
            <a:r>
              <a:rPr lang="nl-NL" baseline="0" dirty="0" err="1" smtClean="0"/>
              <a:t>other</a:t>
            </a:r>
            <a:r>
              <a:rPr lang="nl-NL" baseline="0" dirty="0" smtClean="0"/>
              <a:t> Internet </a:t>
            </a:r>
            <a:r>
              <a:rPr lang="nl-NL" baseline="0" dirty="0" err="1" smtClean="0"/>
              <a:t>technology</a:t>
            </a:r>
            <a:endParaRPr lang="nl-NL" baseline="0" dirty="0" smtClean="0"/>
          </a:p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10770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2" algn="l"/>
            <a:r>
              <a:rPr lang="nl-NL" dirty="0" smtClean="0"/>
              <a:t>We </a:t>
            </a:r>
            <a:r>
              <a:rPr lang="nl-NL" dirty="0" err="1" smtClean="0"/>
              <a:t>did</a:t>
            </a:r>
            <a:r>
              <a:rPr lang="nl-NL" dirty="0" smtClean="0"/>
              <a:t> </a:t>
            </a:r>
            <a:r>
              <a:rPr lang="nl-NL" dirty="0" err="1" smtClean="0"/>
              <a:t>not</a:t>
            </a:r>
            <a:r>
              <a:rPr lang="nl-NL" dirty="0" smtClean="0"/>
              <a:t> have a </a:t>
            </a:r>
            <a:r>
              <a:rPr lang="nl-NL" dirty="0" err="1" smtClean="0"/>
              <a:t>clear</a:t>
            </a:r>
            <a:r>
              <a:rPr lang="nl-NL" dirty="0" smtClean="0"/>
              <a:t> </a:t>
            </a:r>
            <a:r>
              <a:rPr lang="nl-NL" dirty="0" err="1" smtClean="0"/>
              <a:t>expectation</a:t>
            </a:r>
            <a:r>
              <a:rPr lang="nl-NL" dirty="0" smtClean="0"/>
              <a:t> of the effect of</a:t>
            </a:r>
            <a:r>
              <a:rPr lang="nl-NL" baseline="0" dirty="0" smtClean="0"/>
              <a:t> the changes </a:t>
            </a:r>
            <a:r>
              <a:rPr lang="nl-NL" baseline="0" dirty="0" err="1" smtClean="0"/>
              <a:t>other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an</a:t>
            </a:r>
            <a:r>
              <a:rPr lang="nl-NL" baseline="0" dirty="0" smtClean="0"/>
              <a:t>: “the </a:t>
            </a:r>
            <a:r>
              <a:rPr lang="nl-NL" baseline="0" dirty="0" err="1" smtClean="0"/>
              <a:t>number</a:t>
            </a:r>
            <a:r>
              <a:rPr lang="nl-NL" baseline="0" dirty="0" smtClean="0"/>
              <a:t> of queries </a:t>
            </a:r>
            <a:r>
              <a:rPr lang="nl-NL" baseline="0" dirty="0" err="1" smtClean="0"/>
              <a:t>will</a:t>
            </a:r>
            <a:r>
              <a:rPr lang="nl-NL" baseline="0" dirty="0" smtClean="0"/>
              <a:t> </a:t>
            </a:r>
            <a:r>
              <a:rPr lang="nl-NL" baseline="0" dirty="0" err="1" smtClean="0"/>
              <a:t>probably</a:t>
            </a:r>
            <a:r>
              <a:rPr lang="nl-NL" baseline="0" dirty="0" smtClean="0"/>
              <a:t> </a:t>
            </a:r>
            <a:r>
              <a:rPr lang="nl-NL" baseline="0" dirty="0" err="1" smtClean="0"/>
              <a:t>increase</a:t>
            </a:r>
            <a:r>
              <a:rPr lang="nl-NL" baseline="0" dirty="0" smtClean="0"/>
              <a:t>”</a:t>
            </a:r>
            <a:endParaRPr lang="nl-NL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06266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ENTRADA is th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Hadoop</a:t>
            </a:r>
            <a:r>
              <a:rPr lang="nl-NL" baseline="0" dirty="0" smtClean="0"/>
              <a:t> </a:t>
            </a:r>
            <a:r>
              <a:rPr lang="nl-NL" baseline="0" dirty="0" err="1" smtClean="0"/>
              <a:t>based</a:t>
            </a:r>
            <a:r>
              <a:rPr lang="nl-NL" baseline="0" dirty="0" smtClean="0"/>
              <a:t> DNS big data platform we have </a:t>
            </a:r>
            <a:r>
              <a:rPr lang="nl-NL" baseline="0" dirty="0" err="1" smtClean="0"/>
              <a:t>developed</a:t>
            </a:r>
            <a:r>
              <a:rPr lang="nl-NL" baseline="0" dirty="0" smtClean="0"/>
              <a:t> at </a:t>
            </a:r>
            <a:r>
              <a:rPr lang="nl-NL" baseline="0" dirty="0" err="1" smtClean="0"/>
              <a:t>sidn</a:t>
            </a:r>
            <a:r>
              <a:rPr lang="nl-NL" baseline="0" dirty="0" smtClean="0"/>
              <a:t> labs.</a:t>
            </a:r>
          </a:p>
          <a:p>
            <a:r>
              <a:rPr lang="nl-NL" baseline="0" dirty="0" smtClean="0"/>
              <a:t>It </a:t>
            </a:r>
            <a:r>
              <a:rPr lang="nl-NL" baseline="0" dirty="0" err="1" smtClean="0"/>
              <a:t>uses</a:t>
            </a:r>
            <a:r>
              <a:rPr lang="nl-NL" baseline="0" dirty="0" smtClean="0"/>
              <a:t> a parallel query engine </a:t>
            </a:r>
            <a:r>
              <a:rPr lang="nl-NL" baseline="0" dirty="0" err="1" smtClean="0"/>
              <a:t>combined</a:t>
            </a:r>
            <a:r>
              <a:rPr lang="nl-NL" baseline="0" dirty="0" smtClean="0"/>
              <a:t> </a:t>
            </a:r>
            <a:r>
              <a:rPr lang="nl-NL" baseline="0" dirty="0" err="1" smtClean="0"/>
              <a:t>with</a:t>
            </a:r>
            <a:r>
              <a:rPr lang="nl-NL" baseline="0" dirty="0" smtClean="0"/>
              <a:t> a independent </a:t>
            </a:r>
            <a:r>
              <a:rPr lang="nl-NL" baseline="0" dirty="0" err="1" smtClean="0"/>
              <a:t>colomnar</a:t>
            </a:r>
            <a:r>
              <a:rPr lang="nl-NL" baseline="0" dirty="0" smtClean="0"/>
              <a:t> storage format.</a:t>
            </a:r>
          </a:p>
          <a:p>
            <a:r>
              <a:rPr lang="nl-NL" baseline="0" dirty="0" err="1" smtClean="0"/>
              <a:t>This</a:t>
            </a:r>
            <a:r>
              <a:rPr lang="nl-NL" baseline="0" dirty="0" smtClean="0"/>
              <a:t> </a:t>
            </a:r>
            <a:r>
              <a:rPr lang="nl-NL" baseline="0" dirty="0" err="1" smtClean="0"/>
              <a:t>allows</a:t>
            </a:r>
            <a:r>
              <a:rPr lang="nl-NL" baseline="0" dirty="0" smtClean="0"/>
              <a:t> </a:t>
            </a:r>
            <a:r>
              <a:rPr lang="nl-NL" baseline="0" dirty="0" err="1" smtClean="0"/>
              <a:t>us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o</a:t>
            </a:r>
            <a:r>
              <a:rPr lang="nl-NL" baseline="0" dirty="0" smtClean="0"/>
              <a:t> </a:t>
            </a:r>
            <a:r>
              <a:rPr lang="nl-NL" baseline="0" dirty="0" err="1" smtClean="0"/>
              <a:t>quickly</a:t>
            </a:r>
            <a:r>
              <a:rPr lang="nl-NL" baseline="0" dirty="0" smtClean="0"/>
              <a:t> </a:t>
            </a:r>
            <a:r>
              <a:rPr lang="nl-NL" baseline="0" dirty="0" err="1" smtClean="0"/>
              <a:t>process</a:t>
            </a:r>
            <a:r>
              <a:rPr lang="nl-NL" baseline="0" dirty="0" smtClean="0"/>
              <a:t> a large volume of </a:t>
            </a:r>
            <a:r>
              <a:rPr lang="nl-NL" baseline="0" dirty="0" err="1" smtClean="0"/>
              <a:t>network</a:t>
            </a:r>
            <a:r>
              <a:rPr lang="nl-NL" baseline="0" dirty="0" smtClean="0"/>
              <a:t> data </a:t>
            </a:r>
          </a:p>
          <a:p>
            <a:endParaRPr lang="nl-NL" baseline="0" dirty="0" smtClean="0"/>
          </a:p>
          <a:p>
            <a:r>
              <a:rPr lang="nl-NL" baseline="0" dirty="0" smtClean="0"/>
              <a:t>Data </a:t>
            </a:r>
            <a:r>
              <a:rPr lang="nl-NL" baseline="0" dirty="0" err="1" smtClean="0"/>
              <a:t>from</a:t>
            </a:r>
            <a:r>
              <a:rPr lang="nl-NL" baseline="0" dirty="0" smtClean="0"/>
              <a:t> the name servers is </a:t>
            </a:r>
            <a:r>
              <a:rPr lang="nl-NL" baseline="0" dirty="0" err="1" smtClean="0"/>
              <a:t>converted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o</a:t>
            </a:r>
            <a:r>
              <a:rPr lang="nl-NL" baseline="0" dirty="0" smtClean="0"/>
              <a:t> </a:t>
            </a:r>
            <a:r>
              <a:rPr lang="nl-NL" baseline="0" dirty="0" err="1" smtClean="0"/>
              <a:t>parquet</a:t>
            </a:r>
            <a:r>
              <a:rPr lang="nl-NL" baseline="0" dirty="0" smtClean="0"/>
              <a:t> format </a:t>
            </a:r>
            <a:r>
              <a:rPr lang="nl-NL" baseline="0" dirty="0" err="1" smtClean="0"/>
              <a:t>and</a:t>
            </a:r>
            <a:r>
              <a:rPr lang="nl-NL" baseline="0" dirty="0" smtClean="0"/>
              <a:t> is </a:t>
            </a:r>
            <a:r>
              <a:rPr lang="nl-NL" baseline="0" dirty="0" err="1" smtClean="0"/>
              <a:t>stored</a:t>
            </a:r>
            <a:r>
              <a:rPr lang="nl-NL" baseline="0" dirty="0" smtClean="0"/>
              <a:t> on the </a:t>
            </a:r>
            <a:r>
              <a:rPr lang="nl-NL" baseline="0" dirty="0" err="1" smtClean="0"/>
              <a:t>Hadoop</a:t>
            </a:r>
            <a:r>
              <a:rPr lang="nl-NL" baseline="0" dirty="0" smtClean="0"/>
              <a:t> HDFS filesystem.</a:t>
            </a:r>
          </a:p>
          <a:p>
            <a:r>
              <a:rPr lang="nl-NL" baseline="0" dirty="0" err="1" smtClean="0"/>
              <a:t>Now</a:t>
            </a:r>
            <a:r>
              <a:rPr lang="nl-NL" baseline="0" dirty="0" smtClean="0"/>
              <a:t> </a:t>
            </a:r>
            <a:r>
              <a:rPr lang="nl-NL" baseline="0" dirty="0" err="1" smtClean="0"/>
              <a:t>it</a:t>
            </a:r>
            <a:r>
              <a:rPr lang="nl-NL" baseline="0" dirty="0" smtClean="0"/>
              <a:t> </a:t>
            </a:r>
            <a:r>
              <a:rPr lang="nl-NL" baseline="0" dirty="0" err="1" smtClean="0"/>
              <a:t>can</a:t>
            </a:r>
            <a:r>
              <a:rPr lang="nl-NL" baseline="0" dirty="0" smtClean="0"/>
              <a:t> </a:t>
            </a:r>
            <a:r>
              <a:rPr lang="nl-NL" baseline="0" dirty="0" err="1" smtClean="0"/>
              <a:t>b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analysed</a:t>
            </a:r>
            <a:r>
              <a:rPr lang="nl-NL" baseline="0" dirty="0" smtClean="0"/>
              <a:t> </a:t>
            </a:r>
            <a:r>
              <a:rPr lang="nl-NL" baseline="0" dirty="0" err="1" smtClean="0"/>
              <a:t>with</a:t>
            </a:r>
            <a:r>
              <a:rPr lang="nl-NL" baseline="0" dirty="0" smtClean="0"/>
              <a:t> the impala </a:t>
            </a:r>
            <a:r>
              <a:rPr lang="nl-NL" baseline="0" dirty="0" err="1" smtClean="0"/>
              <a:t>sql</a:t>
            </a:r>
            <a:r>
              <a:rPr lang="nl-NL" baseline="0" dirty="0" smtClean="0"/>
              <a:t> query engine</a:t>
            </a:r>
          </a:p>
          <a:p>
            <a:endParaRPr lang="nl-NL" baseline="0" dirty="0" smtClean="0"/>
          </a:p>
          <a:p>
            <a:r>
              <a:rPr lang="nl-NL" baseline="0" dirty="0" smtClean="0"/>
              <a:t>On top of </a:t>
            </a:r>
            <a:r>
              <a:rPr lang="nl-NL" baseline="0" dirty="0" err="1" smtClean="0"/>
              <a:t>entrada</a:t>
            </a:r>
            <a:r>
              <a:rPr lang="nl-NL" baseline="0" dirty="0" smtClean="0"/>
              <a:t> we have </a:t>
            </a:r>
            <a:r>
              <a:rPr lang="nl-NL" baseline="0" dirty="0" err="1" smtClean="0"/>
              <a:t>developed</a:t>
            </a:r>
            <a:r>
              <a:rPr lang="nl-NL" baseline="0" dirty="0" smtClean="0"/>
              <a:t> </a:t>
            </a:r>
            <a:r>
              <a:rPr lang="nl-NL" baseline="0" dirty="0" err="1" smtClean="0"/>
              <a:t>applications</a:t>
            </a:r>
            <a:r>
              <a:rPr lang="nl-NL" baseline="0" dirty="0" smtClean="0"/>
              <a:t> </a:t>
            </a:r>
            <a:r>
              <a:rPr lang="nl-NL" baseline="0" dirty="0" err="1" smtClean="0"/>
              <a:t>and</a:t>
            </a:r>
            <a:r>
              <a:rPr lang="nl-NL" baseline="0" dirty="0" smtClean="0"/>
              <a:t> services </a:t>
            </a:r>
            <a:r>
              <a:rPr lang="nl-NL" baseline="0" dirty="0" err="1" smtClean="0"/>
              <a:t>and</a:t>
            </a:r>
            <a:r>
              <a:rPr lang="nl-NL" baseline="0" dirty="0" smtClean="0"/>
              <a:t> we </a:t>
            </a:r>
            <a:r>
              <a:rPr lang="nl-NL" baseline="0" dirty="0" err="1" smtClean="0"/>
              <a:t>also</a:t>
            </a:r>
            <a:r>
              <a:rPr lang="nl-NL" baseline="0" dirty="0" smtClean="0"/>
              <a:t> </a:t>
            </a:r>
            <a:r>
              <a:rPr lang="nl-NL" baseline="0" dirty="0" err="1" smtClean="0"/>
              <a:t>use</a:t>
            </a:r>
            <a:r>
              <a:rPr lang="nl-NL" baseline="0" dirty="0" smtClean="0"/>
              <a:t> impala </a:t>
            </a:r>
            <a:r>
              <a:rPr lang="nl-NL" baseline="0" dirty="0" err="1" smtClean="0"/>
              <a:t>for</a:t>
            </a:r>
            <a:r>
              <a:rPr lang="nl-NL" baseline="0" dirty="0" smtClean="0"/>
              <a:t> research </a:t>
            </a:r>
            <a:r>
              <a:rPr lang="nl-NL" baseline="0" dirty="0" err="1" smtClean="0"/>
              <a:t>into</a:t>
            </a:r>
            <a:r>
              <a:rPr lang="nl-NL" baseline="0" dirty="0" smtClean="0"/>
              <a:t> </a:t>
            </a:r>
            <a:r>
              <a:rPr lang="nl-NL" baseline="0" dirty="0" err="1" smtClean="0"/>
              <a:t>operational</a:t>
            </a:r>
            <a:r>
              <a:rPr lang="nl-NL" baseline="0" dirty="0" smtClean="0"/>
              <a:t> changes </a:t>
            </a:r>
            <a:r>
              <a:rPr lang="nl-NL" baseline="0" dirty="0" err="1" smtClean="0"/>
              <a:t>such</a:t>
            </a:r>
            <a:r>
              <a:rPr lang="nl-NL" baseline="0" dirty="0" smtClean="0"/>
              <a:t> as</a:t>
            </a:r>
          </a:p>
          <a:p>
            <a:r>
              <a:rPr lang="nl-NL" baseline="0" dirty="0" err="1" smtClean="0"/>
              <a:t>Discussed</a:t>
            </a:r>
            <a:r>
              <a:rPr lang="nl-NL" baseline="0" dirty="0" smtClean="0"/>
              <a:t> in </a:t>
            </a:r>
            <a:r>
              <a:rPr lang="nl-NL" baseline="0" dirty="0" err="1" smtClean="0"/>
              <a:t>this</a:t>
            </a:r>
            <a:r>
              <a:rPr lang="nl-NL" baseline="0" dirty="0" smtClean="0"/>
              <a:t> </a:t>
            </a:r>
            <a:r>
              <a:rPr lang="nl-NL" baseline="0" dirty="0" err="1" smtClean="0"/>
              <a:t>presentation</a:t>
            </a:r>
            <a:r>
              <a:rPr lang="nl-NL" baseline="0" dirty="0" smtClean="0"/>
              <a:t>.</a:t>
            </a:r>
          </a:p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47532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17TB </a:t>
            </a:r>
            <a:r>
              <a:rPr lang="nl-NL" sz="1200" dirty="0" err="1" smtClean="0"/>
              <a:t>using</a:t>
            </a:r>
            <a:r>
              <a:rPr lang="nl-NL" sz="1200" dirty="0" smtClean="0"/>
              <a:t> 3x HDFS </a:t>
            </a:r>
            <a:r>
              <a:rPr lang="nl-NL" sz="1200" dirty="0" err="1" smtClean="0"/>
              <a:t>replication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73324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2" indent="0">
              <a:buNone/>
            </a:pPr>
            <a:r>
              <a:rPr lang="nl-NL" dirty="0" err="1" smtClean="0"/>
              <a:t>Reducing</a:t>
            </a:r>
            <a:r>
              <a:rPr lang="nl-NL" dirty="0" smtClean="0"/>
              <a:t> the TTL </a:t>
            </a:r>
            <a:r>
              <a:rPr lang="nl-NL" dirty="0" err="1" smtClean="0"/>
              <a:t>by</a:t>
            </a:r>
            <a:r>
              <a:rPr lang="nl-NL" dirty="0" smtClean="0"/>
              <a:t> 50% does </a:t>
            </a:r>
            <a:r>
              <a:rPr lang="nl-NL" dirty="0" err="1" smtClean="0"/>
              <a:t>not</a:t>
            </a:r>
            <a:r>
              <a:rPr lang="nl-NL" dirty="0" smtClean="0"/>
              <a:t> lead </a:t>
            </a:r>
            <a:r>
              <a:rPr lang="nl-NL" dirty="0" err="1" smtClean="0"/>
              <a:t>to</a:t>
            </a:r>
            <a:r>
              <a:rPr lang="nl-NL" dirty="0" smtClean="0"/>
              <a:t> a 100% </a:t>
            </a:r>
            <a:r>
              <a:rPr lang="nl-NL" dirty="0" err="1" smtClean="0"/>
              <a:t>increase</a:t>
            </a:r>
            <a:r>
              <a:rPr lang="nl-NL" dirty="0" smtClean="0"/>
              <a:t> in queries</a:t>
            </a:r>
          </a:p>
          <a:p>
            <a:endParaRPr lang="nl-NL" dirty="0" smtClean="0"/>
          </a:p>
          <a:p>
            <a:r>
              <a:rPr lang="nl-NL" dirty="0" err="1" smtClean="0"/>
              <a:t>Mention</a:t>
            </a:r>
            <a:r>
              <a:rPr lang="nl-NL" dirty="0" smtClean="0"/>
              <a:t> </a:t>
            </a:r>
            <a:r>
              <a:rPr lang="nl-NL" dirty="0" err="1" smtClean="0"/>
              <a:t>that</a:t>
            </a:r>
            <a:r>
              <a:rPr lang="nl-NL" dirty="0" smtClean="0"/>
              <a:t> </a:t>
            </a:r>
            <a:r>
              <a:rPr lang="nl-NL" dirty="0" err="1" smtClean="0"/>
              <a:t>each</a:t>
            </a:r>
            <a:r>
              <a:rPr lang="nl-NL" dirty="0" smtClean="0"/>
              <a:t> datapoint is a </a:t>
            </a:r>
            <a:r>
              <a:rPr lang="nl-NL" dirty="0" err="1" smtClean="0"/>
              <a:t>weekday</a:t>
            </a:r>
            <a:r>
              <a:rPr lang="nl-NL" dirty="0" smtClean="0"/>
              <a:t>, weekends show</a:t>
            </a:r>
            <a:r>
              <a:rPr lang="nl-NL" baseline="0" dirty="0" smtClean="0"/>
              <a:t> dip in queries </a:t>
            </a:r>
            <a:r>
              <a:rPr lang="nl-NL" baseline="0" dirty="0" err="1" smtClean="0"/>
              <a:t>and</a:t>
            </a:r>
            <a:r>
              <a:rPr lang="nl-NL" baseline="0" dirty="0" smtClean="0"/>
              <a:t> are </a:t>
            </a:r>
            <a:r>
              <a:rPr lang="nl-NL" baseline="0" dirty="0" err="1" smtClean="0"/>
              <a:t>therefor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skipped</a:t>
            </a:r>
            <a:r>
              <a:rPr lang="nl-NL" baseline="0" dirty="0" smtClean="0"/>
              <a:t>.</a:t>
            </a:r>
          </a:p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73324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No data </a:t>
            </a:r>
            <a:r>
              <a:rPr lang="nl-NL" dirty="0" err="1" smtClean="0"/>
              <a:t>for</a:t>
            </a:r>
            <a:r>
              <a:rPr lang="nl-NL" dirty="0" smtClean="0"/>
              <a:t> NS2</a:t>
            </a:r>
            <a:r>
              <a:rPr lang="nl-NL" baseline="0" dirty="0" smtClean="0"/>
              <a:t> </a:t>
            </a:r>
            <a:r>
              <a:rPr lang="nl-NL" baseline="0" dirty="0" err="1" smtClean="0"/>
              <a:t>for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is</a:t>
            </a:r>
            <a:r>
              <a:rPr lang="nl-NL" baseline="0" dirty="0" smtClean="0"/>
              <a:t> </a:t>
            </a:r>
            <a:r>
              <a:rPr lang="nl-NL" baseline="0" dirty="0" err="1" smtClean="0"/>
              <a:t>period</a:t>
            </a:r>
            <a:r>
              <a:rPr lang="nl-NL" baseline="0" dirty="0" smtClean="0"/>
              <a:t> </a:t>
            </a:r>
            <a:r>
              <a:rPr lang="nl-NL" baseline="0" dirty="0" err="1" smtClean="0"/>
              <a:t>becaus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only</a:t>
            </a:r>
            <a:r>
              <a:rPr lang="nl-NL" baseline="0" dirty="0" smtClean="0"/>
              <a:t> ns1 data was </a:t>
            </a:r>
            <a:r>
              <a:rPr lang="nl-NL" baseline="0" dirty="0" err="1" smtClean="0"/>
              <a:t>captured</a:t>
            </a:r>
            <a:r>
              <a:rPr lang="nl-NL" baseline="0" dirty="0" smtClean="0"/>
              <a:t> at </a:t>
            </a:r>
            <a:r>
              <a:rPr lang="nl-NL" baseline="0" dirty="0" err="1" smtClean="0"/>
              <a:t>that</a:t>
            </a:r>
            <a:r>
              <a:rPr lang="nl-NL" baseline="0" dirty="0" smtClean="0"/>
              <a:t> time.</a:t>
            </a:r>
          </a:p>
          <a:p>
            <a:endParaRPr lang="nl-NL" baseline="0" dirty="0" smtClean="0"/>
          </a:p>
          <a:p>
            <a:r>
              <a:rPr lang="nl-NL" baseline="0" dirty="0" smtClean="0"/>
              <a:t>#</a:t>
            </a:r>
            <a:r>
              <a:rPr lang="nl-NL" baseline="0" dirty="0" err="1" smtClean="0"/>
              <a:t>within</a:t>
            </a:r>
            <a:r>
              <a:rPr lang="nl-NL" baseline="0" dirty="0" smtClean="0"/>
              <a:t> 2 </a:t>
            </a:r>
            <a:r>
              <a:rPr lang="nl-NL" baseline="0" dirty="0" err="1" smtClean="0"/>
              <a:t>std</a:t>
            </a:r>
            <a:r>
              <a:rPr lang="nl-NL" baseline="0" dirty="0" smtClean="0"/>
              <a:t> </a:t>
            </a:r>
            <a:r>
              <a:rPr lang="nl-NL" baseline="0" dirty="0" err="1" smtClean="0"/>
              <a:t>dev</a:t>
            </a:r>
            <a:r>
              <a:rPr lang="nl-NL" baseline="0" dirty="0" smtClean="0"/>
              <a:t> (95%)</a:t>
            </a:r>
          </a:p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73324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 smtClean="0"/>
              <a:t>Request</a:t>
            </a:r>
            <a:r>
              <a:rPr lang="nl-NL" baseline="0" dirty="0" smtClean="0"/>
              <a:t> </a:t>
            </a:r>
            <a:r>
              <a:rPr lang="nl-NL" baseline="0" dirty="0" err="1" smtClean="0"/>
              <a:t>and</a:t>
            </a:r>
            <a:r>
              <a:rPr lang="nl-NL" baseline="0" dirty="0" smtClean="0"/>
              <a:t> response bytes </a:t>
            </a:r>
            <a:r>
              <a:rPr lang="nl-NL" baseline="0" dirty="0" err="1" smtClean="0"/>
              <a:t>for</a:t>
            </a:r>
            <a:r>
              <a:rPr lang="nl-NL" baseline="0" dirty="0" smtClean="0"/>
              <a:t> NS1+NS2 </a:t>
            </a:r>
            <a:r>
              <a:rPr lang="nl-NL" baseline="0" dirty="0" err="1" smtClean="0"/>
              <a:t>combined</a:t>
            </a:r>
            <a:r>
              <a:rPr lang="nl-NL" baseline="0" dirty="0" smtClean="0"/>
              <a:t>.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73324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 smtClean="0"/>
              <a:t>Request</a:t>
            </a:r>
            <a:r>
              <a:rPr lang="nl-NL" dirty="0" smtClean="0"/>
              <a:t> + responses bytes </a:t>
            </a:r>
            <a:r>
              <a:rPr lang="nl-NL" dirty="0" err="1" smtClean="0"/>
              <a:t>for</a:t>
            </a:r>
            <a:r>
              <a:rPr lang="nl-NL" baseline="0" dirty="0" smtClean="0"/>
              <a:t> ns1+ns1 </a:t>
            </a:r>
            <a:r>
              <a:rPr lang="nl-NL" baseline="0" dirty="0" err="1" smtClean="0"/>
              <a:t>combined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73324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openxmlformats.org/officeDocument/2006/relationships/image" Target="../media/image9.png"/><Relationship Id="rId6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png"/><Relationship Id="rId3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5.png"/><Relationship Id="rId5" Type="http://schemas.openxmlformats.org/officeDocument/2006/relationships/oleObject" Target="../embeddings/oleObject2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openxmlformats.org/officeDocument/2006/relationships/image" Target="../media/image9.png"/><Relationship Id="rId6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openxmlformats.org/officeDocument/2006/relationships/image" Target="../media/image9.png"/><Relationship Id="rId6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openxmlformats.org/officeDocument/2006/relationships/image" Target="../media/image9.png"/><Relationship Id="rId6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openxmlformats.org/officeDocument/2006/relationships/image" Target="../media/image9.png"/><Relationship Id="rId6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openxmlformats.org/officeDocument/2006/relationships/image" Target="../media/image9.png"/><Relationship Id="rId6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bl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8" name="Tekstvak 7"/>
          <p:cNvSpPr txBox="1"/>
          <p:nvPr userDrawn="1"/>
        </p:nvSpPr>
        <p:spPr>
          <a:xfrm>
            <a:off x="9296400" y="-520700"/>
            <a:ext cx="2895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l-NL" dirty="0">
                <a:solidFill>
                  <a:srgbClr val="656565"/>
                </a:solidFill>
              </a:rPr>
              <a:t>Voorblad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 dirty="0"/>
              <a:t>© Copyright SIDN | 2016</a:t>
            </a:r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899" y="1630344"/>
            <a:ext cx="4274557" cy="3191228"/>
          </a:xfrm>
          <a:prstGeom prst="rect">
            <a:avLst/>
          </a:prstGeom>
        </p:spPr>
      </p:pic>
      <p:pic>
        <p:nvPicPr>
          <p:cNvPr id="4" name="Afbeelding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676667" y="2781578"/>
            <a:ext cx="6878642" cy="799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595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+ Tekst (75%/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8763000" y="1092201"/>
            <a:ext cx="2970074" cy="4680000"/>
          </a:xfr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458926" y="1092201"/>
            <a:ext cx="7921949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 dirty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 dirty="0"/>
              <a:t>Afbeelding + </a:t>
            </a:r>
            <a:r>
              <a:rPr lang="nl-NL" dirty="0"/>
              <a:t>Tekst</a:t>
            </a:r>
            <a:r>
              <a:rPr lang="nl-NL" baseline="0" dirty="0"/>
              <a:t> (75%/25%)</a:t>
            </a:r>
            <a:endParaRPr lang="nl-NL" dirty="0"/>
          </a:p>
        </p:txBody>
      </p:sp>
      <p:grpSp>
        <p:nvGrpSpPr>
          <p:cNvPr id="84" name="Groep 83"/>
          <p:cNvGrpSpPr/>
          <p:nvPr userDrawn="1"/>
        </p:nvGrpSpPr>
        <p:grpSpPr>
          <a:xfrm>
            <a:off x="12727582" y="19956"/>
            <a:ext cx="3113633" cy="6868888"/>
            <a:chOff x="12346582" y="-5444"/>
            <a:chExt cx="3113633" cy="6868888"/>
          </a:xfrm>
        </p:grpSpPr>
        <p:grpSp>
          <p:nvGrpSpPr>
            <p:cNvPr id="85" name="bijsnijden"/>
            <p:cNvGrpSpPr/>
            <p:nvPr userDrawn="1"/>
          </p:nvGrpSpPr>
          <p:grpSpPr>
            <a:xfrm>
              <a:off x="12346582" y="5828002"/>
              <a:ext cx="779464" cy="828260"/>
              <a:chOff x="13143038" y="5655940"/>
              <a:chExt cx="779464" cy="828260"/>
            </a:xfrm>
          </p:grpSpPr>
          <p:grpSp>
            <p:nvGrpSpPr>
              <p:cNvPr id="103" name="Groep 1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06" name="Rechthoek 1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107" name="Afbeelding 106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08" name="L-vorm 1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09" name="L-vorm 1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1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 dirty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105" name="Rechthoekige driehoek 1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 dirty="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  <p:sp>
          <p:nvSpPr>
            <p:cNvPr id="86" name="Rechthoek 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FBEELDING INVOEGEN</a:t>
              </a:r>
            </a:p>
          </p:txBody>
        </p:sp>
        <p:sp>
          <p:nvSpPr>
            <p:cNvPr id="87" name="Tekstvak 33"/>
            <p:cNvSpPr txBox="1"/>
            <p:nvPr/>
          </p:nvSpPr>
          <p:spPr>
            <a:xfrm>
              <a:off x="12483705" y="865335"/>
              <a:ext cx="2584447" cy="7306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Indien nodig, verwijder de bestaande afbeelding. Klik op het pictogram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om een afbeelding in te voegen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(zie onderstaand voorbeeld).</a:t>
              </a:r>
            </a:p>
          </p:txBody>
        </p:sp>
        <p:sp>
          <p:nvSpPr>
            <p:cNvPr id="88" name="Tekstvak 33"/>
            <p:cNvSpPr txBox="1"/>
            <p:nvPr/>
          </p:nvSpPr>
          <p:spPr>
            <a:xfrm>
              <a:off x="12479311" y="2969104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lecteer de afbeelding die u wilt invoegen 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Invoegen’</a:t>
              </a:r>
            </a:p>
          </p:txBody>
        </p:sp>
        <p:sp>
          <p:nvSpPr>
            <p:cNvPr id="89" name="Ovaal 88"/>
            <p:cNvSpPr/>
            <p:nvPr/>
          </p:nvSpPr>
          <p:spPr>
            <a:xfrm>
              <a:off x="12483705" y="436334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90" name="Ovaal 89"/>
            <p:cNvSpPr/>
            <p:nvPr/>
          </p:nvSpPr>
          <p:spPr>
            <a:xfrm>
              <a:off x="12488780" y="2543208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cxnSp>
          <p:nvCxnSpPr>
            <p:cNvPr id="91" name="Rechte verbindingslijn 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2" name="Rechte verbindingslijn 91"/>
            <p:cNvCxnSpPr/>
            <p:nvPr/>
          </p:nvCxnSpPr>
          <p:spPr>
            <a:xfrm>
              <a:off x="12479311" y="2393251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3" name="Rechte verbindingslijn 92"/>
            <p:cNvCxnSpPr/>
            <p:nvPr/>
          </p:nvCxnSpPr>
          <p:spPr>
            <a:xfrm>
              <a:off x="12470972" y="3968888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94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708839"/>
              <a:ext cx="521075" cy="521075"/>
            </a:xfrm>
            <a:prstGeom prst="rect">
              <a:avLst/>
            </a:prstGeom>
          </p:spPr>
        </p:pic>
        <p:sp>
          <p:nvSpPr>
            <p:cNvPr id="95" name="Tekstvak 33"/>
            <p:cNvSpPr txBox="1"/>
            <p:nvPr/>
          </p:nvSpPr>
          <p:spPr>
            <a:xfrm>
              <a:off x="12479311" y="4549393"/>
              <a:ext cx="2980904" cy="10718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ls u de afbeelding wilt schalen of verslepen, ga naar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Hulpmiddelen voor afbeeldingen’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Bijsnijden’.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Met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e witte bolletjes schaalt u de afbeelding, met de zwarte haakjes schaalt u het afbeeldingskader.</a:t>
              </a:r>
            </a:p>
          </p:txBody>
        </p:sp>
        <p:sp>
          <p:nvSpPr>
            <p:cNvPr id="96" name="Ovaal 95"/>
            <p:cNvSpPr/>
            <p:nvPr/>
          </p:nvSpPr>
          <p:spPr>
            <a:xfrm>
              <a:off x="12488779" y="4119303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cxnSp>
          <p:nvCxnSpPr>
            <p:cNvPr id="97" name="Rechte verbindingslijn 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8" name="Groep 97"/>
            <p:cNvGrpSpPr/>
            <p:nvPr/>
          </p:nvGrpSpPr>
          <p:grpSpPr>
            <a:xfrm>
              <a:off x="12483705" y="3495180"/>
              <a:ext cx="1114138" cy="297656"/>
              <a:chOff x="13560784" y="3471416"/>
              <a:chExt cx="1114138" cy="297656"/>
            </a:xfrm>
          </p:grpSpPr>
          <p:sp>
            <p:nvSpPr>
              <p:cNvPr id="99" name="Afgeronde rechthoek 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 dirty="0"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Invoegen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Gelijkbenige driehoek 1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91712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458926" y="1092201"/>
            <a:ext cx="11274148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 dirty="0"/>
              <a:t>Afbeelding (100%)</a:t>
            </a:r>
            <a:endParaRPr lang="nl-NL" dirty="0"/>
          </a:p>
        </p:txBody>
      </p:sp>
      <p:grpSp>
        <p:nvGrpSpPr>
          <p:cNvPr id="84" name="Groep 83"/>
          <p:cNvGrpSpPr/>
          <p:nvPr userDrawn="1"/>
        </p:nvGrpSpPr>
        <p:grpSpPr>
          <a:xfrm>
            <a:off x="12727582" y="19956"/>
            <a:ext cx="3113633" cy="6868888"/>
            <a:chOff x="12346582" y="-5444"/>
            <a:chExt cx="3113633" cy="6868888"/>
          </a:xfrm>
        </p:grpSpPr>
        <p:grpSp>
          <p:nvGrpSpPr>
            <p:cNvPr id="85" name="bijsnijden"/>
            <p:cNvGrpSpPr/>
            <p:nvPr userDrawn="1"/>
          </p:nvGrpSpPr>
          <p:grpSpPr>
            <a:xfrm>
              <a:off x="12346582" y="5828002"/>
              <a:ext cx="779464" cy="828260"/>
              <a:chOff x="13143038" y="5655940"/>
              <a:chExt cx="779464" cy="828260"/>
            </a:xfrm>
          </p:grpSpPr>
          <p:grpSp>
            <p:nvGrpSpPr>
              <p:cNvPr id="103" name="Groep 1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06" name="Rechthoek 1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107" name="Afbeelding 106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08" name="L-vorm 1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09" name="L-vorm 1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1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 dirty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105" name="Rechthoekige driehoek 1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 dirty="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  <p:sp>
          <p:nvSpPr>
            <p:cNvPr id="86" name="Rechthoek 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FBEELDING INVOEGEN</a:t>
              </a:r>
            </a:p>
          </p:txBody>
        </p:sp>
        <p:sp>
          <p:nvSpPr>
            <p:cNvPr id="87" name="Tekstvak 33"/>
            <p:cNvSpPr txBox="1"/>
            <p:nvPr/>
          </p:nvSpPr>
          <p:spPr>
            <a:xfrm>
              <a:off x="12483705" y="865335"/>
              <a:ext cx="2584447" cy="7306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Indien nodig, verwijder de bestaande afbeelding. Klik op het pictogram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om een afbeelding in te voegen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(zie onderstaand voorbeeld).</a:t>
              </a:r>
            </a:p>
          </p:txBody>
        </p:sp>
        <p:sp>
          <p:nvSpPr>
            <p:cNvPr id="88" name="Tekstvak 33"/>
            <p:cNvSpPr txBox="1"/>
            <p:nvPr/>
          </p:nvSpPr>
          <p:spPr>
            <a:xfrm>
              <a:off x="12479311" y="2969104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lecteer de afbeelding die u wilt invoegen 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Invoegen’</a:t>
              </a:r>
            </a:p>
          </p:txBody>
        </p:sp>
        <p:sp>
          <p:nvSpPr>
            <p:cNvPr id="89" name="Ovaal 88"/>
            <p:cNvSpPr/>
            <p:nvPr/>
          </p:nvSpPr>
          <p:spPr>
            <a:xfrm>
              <a:off x="12483705" y="436334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90" name="Ovaal 89"/>
            <p:cNvSpPr/>
            <p:nvPr/>
          </p:nvSpPr>
          <p:spPr>
            <a:xfrm>
              <a:off x="12488780" y="2543208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cxnSp>
          <p:nvCxnSpPr>
            <p:cNvPr id="91" name="Rechte verbindingslijn 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2" name="Rechte verbindingslijn 91"/>
            <p:cNvCxnSpPr/>
            <p:nvPr/>
          </p:nvCxnSpPr>
          <p:spPr>
            <a:xfrm>
              <a:off x="12479311" y="2393251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3" name="Rechte verbindingslijn 92"/>
            <p:cNvCxnSpPr/>
            <p:nvPr/>
          </p:nvCxnSpPr>
          <p:spPr>
            <a:xfrm>
              <a:off x="12470972" y="3968888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94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708839"/>
              <a:ext cx="521075" cy="521075"/>
            </a:xfrm>
            <a:prstGeom prst="rect">
              <a:avLst/>
            </a:prstGeom>
          </p:spPr>
        </p:pic>
        <p:sp>
          <p:nvSpPr>
            <p:cNvPr id="95" name="Tekstvak 33"/>
            <p:cNvSpPr txBox="1"/>
            <p:nvPr/>
          </p:nvSpPr>
          <p:spPr>
            <a:xfrm>
              <a:off x="12479311" y="4549393"/>
              <a:ext cx="2980904" cy="10718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ls u de afbeelding wilt schalen of verslepen, ga naar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Hulpmiddelen voor afbeeldingen’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Bijsnijden’.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Met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e witte bolletjes schaalt u de afbeelding, met de zwarte haakjes schaalt u het afbeeldingskader.</a:t>
              </a:r>
            </a:p>
          </p:txBody>
        </p:sp>
        <p:sp>
          <p:nvSpPr>
            <p:cNvPr id="96" name="Ovaal 95"/>
            <p:cNvSpPr/>
            <p:nvPr/>
          </p:nvSpPr>
          <p:spPr>
            <a:xfrm>
              <a:off x="12488779" y="4119303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cxnSp>
          <p:nvCxnSpPr>
            <p:cNvPr id="97" name="Rechte verbindingslijn 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8" name="Groep 97"/>
            <p:cNvGrpSpPr/>
            <p:nvPr/>
          </p:nvGrpSpPr>
          <p:grpSpPr>
            <a:xfrm>
              <a:off x="12483705" y="3495180"/>
              <a:ext cx="1114138" cy="297656"/>
              <a:chOff x="13560784" y="3471416"/>
              <a:chExt cx="1114138" cy="297656"/>
            </a:xfrm>
          </p:grpSpPr>
          <p:sp>
            <p:nvSpPr>
              <p:cNvPr id="99" name="Afgeronde rechthoek 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 dirty="0"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Invoegen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Gelijkbenige driehoek 1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22825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 dirty="0"/>
              <a:t>Media (100%)</a:t>
            </a:r>
            <a:endParaRPr lang="nl-NL" dirty="0"/>
          </a:p>
        </p:txBody>
      </p:sp>
      <p:sp>
        <p:nvSpPr>
          <p:cNvPr id="85" name="Tijdelijke aanduiding voor media 12"/>
          <p:cNvSpPr>
            <a:spLocks noGrp="1"/>
          </p:cNvSpPr>
          <p:nvPr>
            <p:ph type="media" sz="quarter" idx="14"/>
          </p:nvPr>
        </p:nvSpPr>
        <p:spPr>
          <a:xfrm>
            <a:off x="458926" y="1092201"/>
            <a:ext cx="11275200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r>
              <a:rPr lang="en-US" smtClean="0"/>
              <a:t>Click icon to add media</a:t>
            </a:r>
            <a:endParaRPr lang="nl-NL"/>
          </a:p>
        </p:txBody>
      </p:sp>
      <p:grpSp>
        <p:nvGrpSpPr>
          <p:cNvPr id="86" name="Groep 85"/>
          <p:cNvGrpSpPr/>
          <p:nvPr userDrawn="1"/>
        </p:nvGrpSpPr>
        <p:grpSpPr>
          <a:xfrm>
            <a:off x="12727582" y="19956"/>
            <a:ext cx="2818959" cy="6868888"/>
            <a:chOff x="12727582" y="19956"/>
            <a:chExt cx="2818959" cy="6868888"/>
          </a:xfrm>
        </p:grpSpPr>
        <p:grpSp>
          <p:nvGrpSpPr>
            <p:cNvPr id="87" name="Groep 86"/>
            <p:cNvGrpSpPr/>
            <p:nvPr userDrawn="1"/>
          </p:nvGrpSpPr>
          <p:grpSpPr>
            <a:xfrm>
              <a:off x="12841995" y="19956"/>
              <a:ext cx="2704546" cy="6868888"/>
              <a:chOff x="12841995" y="19956"/>
              <a:chExt cx="2704546" cy="6868888"/>
            </a:xfrm>
          </p:grpSpPr>
          <p:sp>
            <p:nvSpPr>
              <p:cNvPr id="96" name="Rechthoek 95"/>
              <p:cNvSpPr/>
              <p:nvPr/>
            </p:nvSpPr>
            <p:spPr>
              <a:xfrm>
                <a:off x="12854728" y="19956"/>
                <a:ext cx="2677678" cy="288015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80000"/>
                  </a:lnSpc>
                </a:pPr>
                <a:r>
                  <a:rPr lang="nl-NL" sz="1600" b="1" kern="0" dirty="0">
                    <a:solidFill>
                      <a:srgbClr val="3560AB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VIDEO INVOEGEN</a:t>
                </a:r>
              </a:p>
            </p:txBody>
          </p:sp>
          <p:sp>
            <p:nvSpPr>
              <p:cNvPr id="97" name="Tekstvak 33"/>
              <p:cNvSpPr txBox="1"/>
              <p:nvPr/>
            </p:nvSpPr>
            <p:spPr>
              <a:xfrm>
                <a:off x="12854728" y="890735"/>
                <a:ext cx="2584447" cy="73069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Indien nodig, verwijder de bestaande video. Klik op het pictogram om een video in te voegen</a:t>
                </a:r>
                <a:br>
                  <a:rPr lang="nl-NL" sz="1200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</a:br>
                <a:r>
                  <a:rPr lang="nl-NL" sz="1200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(zie onderstaand voorbeeld).</a:t>
                </a:r>
              </a:p>
            </p:txBody>
          </p:sp>
          <p:sp>
            <p:nvSpPr>
              <p:cNvPr id="98" name="Tekstvak 33"/>
              <p:cNvSpPr txBox="1"/>
              <p:nvPr/>
            </p:nvSpPr>
            <p:spPr>
              <a:xfrm>
                <a:off x="12850334" y="2994504"/>
                <a:ext cx="2592287" cy="44485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lecteer de video die u wilt invoegen en klik op </a:t>
                </a:r>
                <a:r>
                  <a:rPr lang="nl-NL" sz="1200" b="1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‘Invoegen’</a:t>
                </a:r>
              </a:p>
            </p:txBody>
          </p:sp>
          <p:sp>
            <p:nvSpPr>
              <p:cNvPr id="99" name="Ovaal 98"/>
              <p:cNvSpPr/>
              <p:nvPr/>
            </p:nvSpPr>
            <p:spPr>
              <a:xfrm>
                <a:off x="12854728" y="461734"/>
                <a:ext cx="359927" cy="359927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1</a:t>
                </a:r>
              </a:p>
            </p:txBody>
          </p:sp>
          <p:sp>
            <p:nvSpPr>
              <p:cNvPr id="100" name="Ovaal 99"/>
              <p:cNvSpPr/>
              <p:nvPr/>
            </p:nvSpPr>
            <p:spPr>
              <a:xfrm>
                <a:off x="12859803" y="2568608"/>
                <a:ext cx="359927" cy="359927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2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2858801" y="308420"/>
                <a:ext cx="267593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102" name="Rechte verbindingslijn 101"/>
              <p:cNvCxnSpPr/>
              <p:nvPr/>
            </p:nvCxnSpPr>
            <p:spPr>
              <a:xfrm>
                <a:off x="12850334" y="2418651"/>
                <a:ext cx="2684402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103" name="Rechte verbindingslijn 102"/>
              <p:cNvCxnSpPr/>
              <p:nvPr/>
            </p:nvCxnSpPr>
            <p:spPr>
              <a:xfrm>
                <a:off x="12841995" y="3994288"/>
                <a:ext cx="2692741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104" name="Tekstvak 33"/>
              <p:cNvSpPr txBox="1"/>
              <p:nvPr/>
            </p:nvSpPr>
            <p:spPr>
              <a:xfrm>
                <a:off x="12850334" y="4574793"/>
                <a:ext cx="2588841" cy="107187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Als u de video wilt schalen of verslepen, ga naar </a:t>
                </a:r>
                <a:r>
                  <a:rPr lang="nl-NL" sz="1200" b="1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‘Hulpmiddelen voor video’ </a:t>
                </a:r>
                <a:r>
                  <a:rPr lang="nl-NL" sz="1200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en klik op </a:t>
                </a:r>
                <a:r>
                  <a:rPr lang="nl-NL" sz="1200" b="1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‘Bijsnijden’.</a:t>
                </a:r>
              </a:p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Met de witte bolletjes schaalt u de video, met de zwarte haakjes schaalt u het videokader.</a:t>
                </a:r>
              </a:p>
            </p:txBody>
          </p:sp>
          <p:sp>
            <p:nvSpPr>
              <p:cNvPr id="105" name="Ovaal 104"/>
              <p:cNvSpPr/>
              <p:nvPr/>
            </p:nvSpPr>
            <p:spPr>
              <a:xfrm>
                <a:off x="12859802" y="4144703"/>
                <a:ext cx="359927" cy="359927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3</a:t>
                </a:r>
              </a:p>
            </p:txBody>
          </p:sp>
          <p:cxnSp>
            <p:nvCxnSpPr>
              <p:cNvPr id="106" name="Rechte verbindingslijn 105"/>
              <p:cNvCxnSpPr/>
              <p:nvPr/>
            </p:nvCxnSpPr>
            <p:spPr>
              <a:xfrm>
                <a:off x="12841995" y="6888844"/>
                <a:ext cx="2704546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107" name="Groep 106"/>
              <p:cNvGrpSpPr/>
              <p:nvPr/>
            </p:nvGrpSpPr>
            <p:grpSpPr>
              <a:xfrm>
                <a:off x="12854728" y="3520580"/>
                <a:ext cx="1114138" cy="297656"/>
                <a:chOff x="13560784" y="3471416"/>
                <a:chExt cx="1114138" cy="297656"/>
              </a:xfrm>
            </p:grpSpPr>
            <p:sp>
              <p:nvSpPr>
                <p:cNvPr id="120" name="Afgeronde rechthoek 119"/>
                <p:cNvSpPr/>
                <p:nvPr/>
              </p:nvSpPr>
              <p:spPr>
                <a:xfrm>
                  <a:off x="13560784" y="3471416"/>
                  <a:ext cx="1114138" cy="297656"/>
                </a:xfrm>
                <a:prstGeom prst="roundRect">
                  <a:avLst/>
                </a:prstGeom>
                <a:gradFill flip="none" rotWithShape="1">
                  <a:gsLst>
                    <a:gs pos="4000">
                      <a:srgbClr val="00B0F0"/>
                    </a:gs>
                    <a:gs pos="0">
                      <a:srgbClr val="0070C0"/>
                    </a:gs>
                    <a:gs pos="100000">
                      <a:srgbClr val="0070C0"/>
                    </a:gs>
                    <a:gs pos="12000">
                      <a:srgbClr val="D1EAFF"/>
                    </a:gs>
                    <a:gs pos="96000">
                      <a:srgbClr val="00B0F0"/>
                    </a:gs>
                    <a:gs pos="89000">
                      <a:srgbClr val="DDF4FF"/>
                    </a:gs>
                    <a:gs pos="43000">
                      <a:srgbClr val="D1EAFF"/>
                    </a:gs>
                    <a:gs pos="51000">
                      <a:srgbClr val="DDF4FF"/>
                    </a:gs>
                  </a:gsLst>
                  <a:lin ang="16200000" scaled="1"/>
                  <a:tileRect/>
                </a:gradFill>
                <a:ln w="6350"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dirty="0"/>
                </a:p>
              </p:txBody>
            </p:sp>
            <p:sp>
              <p:nvSpPr>
                <p:cNvPr id="121" name="Tekstvak 81"/>
                <p:cNvSpPr txBox="1"/>
                <p:nvPr/>
              </p:nvSpPr>
              <p:spPr>
                <a:xfrm>
                  <a:off x="13573594" y="3501896"/>
                  <a:ext cx="888311" cy="246221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>
                  <a:defPPr>
                    <a:defRPr lang="nl-NL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900" i="0" u="none" strike="noStrike" kern="0" cap="none" spc="0" normalizeH="0" baseline="0">
                      <a:ln>
                        <a:noFill/>
                      </a:ln>
                      <a:effectLst>
                        <a:outerShdw blurRad="25400" algn="ctr" rotWithShape="0">
                          <a:prstClr val="white"/>
                        </a:outerShdw>
                      </a:effectLst>
                      <a:uLnTx/>
                      <a:uFillTx/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5pPr>
                  <a:lvl6pPr>
                    <a:defRPr>
                      <a:latin typeface="Arial" charset="0"/>
                      <a:cs typeface="Arial" charset="0"/>
                    </a:defRPr>
                  </a:lvl6pPr>
                  <a:lvl7pPr>
                    <a:defRPr>
                      <a:latin typeface="Arial" charset="0"/>
                      <a:cs typeface="Arial" charset="0"/>
                    </a:defRPr>
                  </a:lvl7pPr>
                  <a:lvl8pPr>
                    <a:defRPr>
                      <a:latin typeface="Arial" charset="0"/>
                      <a:cs typeface="Arial" charset="0"/>
                    </a:defRPr>
                  </a:lvl8pPr>
                  <a:lvl9pPr>
                    <a:defRPr>
                      <a:latin typeface="Arial" charset="0"/>
                      <a:cs typeface="Arial" charset="0"/>
                    </a:defRPr>
                  </a:lvl9pPr>
                </a:lstStyle>
                <a:p>
                  <a:r>
                    <a:rPr lang="nl-NL" sz="1000" dirty="0"/>
                    <a:t>Invoegen</a:t>
                  </a:r>
                </a:p>
              </p:txBody>
            </p:sp>
            <p:cxnSp>
              <p:nvCxnSpPr>
                <p:cNvPr id="122" name="Rechte verbindingslijn 121"/>
                <p:cNvCxnSpPr/>
                <p:nvPr/>
              </p:nvCxnSpPr>
              <p:spPr>
                <a:xfrm>
                  <a:off x="14461905" y="3507058"/>
                  <a:ext cx="0" cy="224432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3" name="Gelijkbenige driehoek 122"/>
                <p:cNvSpPr/>
                <p:nvPr/>
              </p:nvSpPr>
              <p:spPr>
                <a:xfrm rot="10800000">
                  <a:off x="14518584" y="3600521"/>
                  <a:ext cx="105309" cy="57157"/>
                </a:xfrm>
                <a:prstGeom prst="triangl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dirty="0"/>
                </a:p>
              </p:txBody>
            </p:sp>
          </p:grpSp>
          <p:grpSp>
            <p:nvGrpSpPr>
              <p:cNvPr id="108" name="Video icoon"/>
              <p:cNvGrpSpPr/>
              <p:nvPr userDrawn="1"/>
            </p:nvGrpSpPr>
            <p:grpSpPr>
              <a:xfrm>
                <a:off x="12867538" y="1744921"/>
                <a:ext cx="510875" cy="521956"/>
                <a:chOff x="10510560" y="2589326"/>
                <a:chExt cx="939297" cy="959670"/>
              </a:xfrm>
            </p:grpSpPr>
            <p:sp>
              <p:nvSpPr>
                <p:cNvPr id="109" name="Ovaal 108"/>
                <p:cNvSpPr/>
                <p:nvPr userDrawn="1"/>
              </p:nvSpPr>
              <p:spPr>
                <a:xfrm>
                  <a:off x="10565049" y="2589326"/>
                  <a:ext cx="769780" cy="769780"/>
                </a:xfrm>
                <a:prstGeom prst="ellipse">
                  <a:avLst/>
                </a:prstGeom>
                <a:gradFill flip="none" rotWithShape="1">
                  <a:gsLst>
                    <a:gs pos="53000">
                      <a:srgbClr val="1D1D1B">
                        <a:lumMod val="25000"/>
                        <a:lumOff val="75000"/>
                      </a:srgbClr>
                    </a:gs>
                    <a:gs pos="100000">
                      <a:srgbClr val="1D1D1B">
                        <a:lumMod val="50000"/>
                        <a:lumOff val="50000"/>
                      </a:srgbClr>
                    </a:gs>
                  </a:gsLst>
                  <a:lin ang="8100000" scaled="1"/>
                  <a:tileRect/>
                </a:gradFill>
                <a:ln w="19050" cap="flat" cmpd="sng" algn="ctr">
                  <a:solidFill>
                    <a:srgbClr val="FFFFFF">
                      <a:lumMod val="50000"/>
                    </a:srgbClr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Ovaal 109"/>
                <p:cNvSpPr/>
                <p:nvPr userDrawn="1"/>
              </p:nvSpPr>
              <p:spPr>
                <a:xfrm>
                  <a:off x="10646722" y="2589326"/>
                  <a:ext cx="769780" cy="769780"/>
                </a:xfrm>
                <a:prstGeom prst="ellipse">
                  <a:avLst/>
                </a:prstGeom>
                <a:gradFill>
                  <a:gsLst>
                    <a:gs pos="0">
                      <a:srgbClr val="1D1D1B">
                        <a:lumMod val="10000"/>
                        <a:lumOff val="90000"/>
                      </a:srgbClr>
                    </a:gs>
                    <a:gs pos="100000">
                      <a:srgbClr val="1D1D1B">
                        <a:lumMod val="25000"/>
                        <a:lumOff val="75000"/>
                      </a:srgbClr>
                    </a:gs>
                  </a:gsLst>
                  <a:lin ang="8100000" scaled="1"/>
                </a:gradFill>
                <a:ln w="19050" cap="flat" cmpd="sng" algn="ctr">
                  <a:solidFill>
                    <a:srgbClr val="FFFFFF">
                      <a:lumMod val="50000"/>
                    </a:srgbClr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endParaRPr>
                </a:p>
              </p:txBody>
            </p:sp>
            <p:grpSp>
              <p:nvGrpSpPr>
                <p:cNvPr id="111" name="Groep 110"/>
                <p:cNvGrpSpPr/>
                <p:nvPr userDrawn="1"/>
              </p:nvGrpSpPr>
              <p:grpSpPr>
                <a:xfrm>
                  <a:off x="10704223" y="2644466"/>
                  <a:ext cx="655000" cy="631020"/>
                  <a:chOff x="10707687" y="2647930"/>
                  <a:chExt cx="655000" cy="631020"/>
                </a:xfrm>
              </p:grpSpPr>
              <p:sp>
                <p:nvSpPr>
                  <p:cNvPr id="114" name="Ovaal 113"/>
                  <p:cNvSpPr/>
                  <p:nvPr userDrawn="1"/>
                </p:nvSpPr>
                <p:spPr>
                  <a:xfrm>
                    <a:off x="10923711" y="2647930"/>
                    <a:ext cx="216024" cy="216024"/>
                  </a:xfrm>
                  <a:prstGeom prst="ellipse">
                    <a:avLst/>
                  </a:prstGeom>
                  <a:gradFill flip="none" rotWithShape="1">
                    <a:gsLst>
                      <a:gs pos="9000">
                        <a:srgbClr val="1D1D1B">
                          <a:lumMod val="25000"/>
                          <a:lumOff val="75000"/>
                        </a:srgbClr>
                      </a:gs>
                      <a:gs pos="100000">
                        <a:srgbClr val="1D1D1B">
                          <a:lumMod val="90000"/>
                          <a:lumOff val="10000"/>
                        </a:srgb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5" name="Ovaal 114"/>
                  <p:cNvSpPr/>
                  <p:nvPr userDrawn="1"/>
                </p:nvSpPr>
                <p:spPr>
                  <a:xfrm>
                    <a:off x="10707687" y="2800330"/>
                    <a:ext cx="216024" cy="216024"/>
                  </a:xfrm>
                  <a:prstGeom prst="ellipse">
                    <a:avLst/>
                  </a:prstGeom>
                  <a:gradFill flip="none" rotWithShape="1">
                    <a:gsLst>
                      <a:gs pos="9000">
                        <a:srgbClr val="1D1D1B">
                          <a:lumMod val="25000"/>
                          <a:lumOff val="75000"/>
                        </a:srgbClr>
                      </a:gs>
                      <a:gs pos="100000">
                        <a:srgbClr val="1D1D1B">
                          <a:lumMod val="90000"/>
                          <a:lumOff val="10000"/>
                        </a:srgb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6" name="Ovaal 115"/>
                  <p:cNvSpPr/>
                  <p:nvPr userDrawn="1"/>
                </p:nvSpPr>
                <p:spPr>
                  <a:xfrm>
                    <a:off x="11146663" y="2800330"/>
                    <a:ext cx="216024" cy="216024"/>
                  </a:xfrm>
                  <a:prstGeom prst="ellipse">
                    <a:avLst/>
                  </a:prstGeom>
                  <a:gradFill flip="none" rotWithShape="1">
                    <a:gsLst>
                      <a:gs pos="9000">
                        <a:srgbClr val="1D1D1B">
                          <a:lumMod val="25000"/>
                          <a:lumOff val="75000"/>
                        </a:srgbClr>
                      </a:gs>
                      <a:gs pos="100000">
                        <a:srgbClr val="1D1D1B">
                          <a:lumMod val="90000"/>
                          <a:lumOff val="10000"/>
                        </a:srgb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7" name="Ovaal 116"/>
                  <p:cNvSpPr/>
                  <p:nvPr userDrawn="1"/>
                </p:nvSpPr>
                <p:spPr>
                  <a:xfrm>
                    <a:off x="10793802" y="3062926"/>
                    <a:ext cx="216024" cy="216024"/>
                  </a:xfrm>
                  <a:prstGeom prst="ellipse">
                    <a:avLst/>
                  </a:prstGeom>
                  <a:gradFill flip="none" rotWithShape="1">
                    <a:gsLst>
                      <a:gs pos="9000">
                        <a:srgbClr val="1D1D1B">
                          <a:lumMod val="25000"/>
                          <a:lumOff val="75000"/>
                        </a:srgbClr>
                      </a:gs>
                      <a:gs pos="100000">
                        <a:srgbClr val="1D1D1B">
                          <a:lumMod val="90000"/>
                          <a:lumOff val="10000"/>
                        </a:srgb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8" name="Ovaal 117"/>
                  <p:cNvSpPr/>
                  <p:nvPr userDrawn="1"/>
                </p:nvSpPr>
                <p:spPr>
                  <a:xfrm>
                    <a:off x="11067727" y="3062926"/>
                    <a:ext cx="216024" cy="216024"/>
                  </a:xfrm>
                  <a:prstGeom prst="ellipse">
                    <a:avLst/>
                  </a:prstGeom>
                  <a:gradFill flip="none" rotWithShape="1">
                    <a:gsLst>
                      <a:gs pos="9000">
                        <a:srgbClr val="1D1D1B">
                          <a:lumMod val="25000"/>
                          <a:lumOff val="75000"/>
                        </a:srgbClr>
                      </a:gs>
                      <a:gs pos="100000">
                        <a:srgbClr val="1D1D1B">
                          <a:lumMod val="90000"/>
                          <a:lumOff val="10000"/>
                        </a:srgb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9" name="Ovaal 118"/>
                  <p:cNvSpPr/>
                  <p:nvPr userDrawn="1"/>
                </p:nvSpPr>
                <p:spPr>
                  <a:xfrm>
                    <a:off x="10953403" y="2892430"/>
                    <a:ext cx="170496" cy="170496"/>
                  </a:xfrm>
                  <a:prstGeom prst="ellipse">
                    <a:avLst/>
                  </a:prstGeom>
                  <a:gradFill>
                    <a:gsLst>
                      <a:gs pos="0">
                        <a:srgbClr val="1D1D1B">
                          <a:lumMod val="10000"/>
                          <a:lumOff val="90000"/>
                        </a:srgbClr>
                      </a:gs>
                      <a:gs pos="100000">
                        <a:srgbClr val="1D1D1B">
                          <a:lumMod val="25000"/>
                          <a:lumOff val="75000"/>
                        </a:srgbClr>
                      </a:gs>
                    </a:gsLst>
                    <a:path path="circle">
                      <a:fillToRect l="100000" t="100000"/>
                    </a:path>
                  </a:gradFill>
                  <a:ln w="25400" cap="flat" cmpd="sng" algn="ctr">
                    <a:solidFill>
                      <a:srgbClr val="FFFFFF">
                        <a:lumMod val="65000"/>
                        <a:alpha val="38000"/>
                      </a:srgbClr>
                    </a:solidFill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Light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12" name="Rechthoek 10"/>
                <p:cNvSpPr/>
                <p:nvPr userDrawn="1"/>
              </p:nvSpPr>
              <p:spPr>
                <a:xfrm>
                  <a:off x="10510560" y="3140981"/>
                  <a:ext cx="939297" cy="408015"/>
                </a:xfrm>
                <a:custGeom>
                  <a:avLst/>
                  <a:gdLst>
                    <a:gd name="connsiteX0" fmla="*/ 0 w 1129820"/>
                    <a:gd name="connsiteY0" fmla="*/ 0 h 386313"/>
                    <a:gd name="connsiteX1" fmla="*/ 1129820 w 1129820"/>
                    <a:gd name="connsiteY1" fmla="*/ 0 h 386313"/>
                    <a:gd name="connsiteX2" fmla="*/ 1129820 w 1129820"/>
                    <a:gd name="connsiteY2" fmla="*/ 386313 h 386313"/>
                    <a:gd name="connsiteX3" fmla="*/ 0 w 1129820"/>
                    <a:gd name="connsiteY3" fmla="*/ 386313 h 386313"/>
                    <a:gd name="connsiteX4" fmla="*/ 0 w 1129820"/>
                    <a:gd name="connsiteY4" fmla="*/ 0 h 386313"/>
                    <a:gd name="connsiteX0" fmla="*/ 145473 w 1129820"/>
                    <a:gd name="connsiteY0" fmla="*/ 0 h 427876"/>
                    <a:gd name="connsiteX1" fmla="*/ 1129820 w 1129820"/>
                    <a:gd name="connsiteY1" fmla="*/ 41563 h 427876"/>
                    <a:gd name="connsiteX2" fmla="*/ 1129820 w 1129820"/>
                    <a:gd name="connsiteY2" fmla="*/ 427876 h 427876"/>
                    <a:gd name="connsiteX3" fmla="*/ 0 w 1129820"/>
                    <a:gd name="connsiteY3" fmla="*/ 427876 h 427876"/>
                    <a:gd name="connsiteX4" fmla="*/ 145473 w 1129820"/>
                    <a:gd name="connsiteY4" fmla="*/ 0 h 427876"/>
                    <a:gd name="connsiteX0" fmla="*/ 145473 w 1129820"/>
                    <a:gd name="connsiteY0" fmla="*/ 0 h 427876"/>
                    <a:gd name="connsiteX1" fmla="*/ 1129820 w 1129820"/>
                    <a:gd name="connsiteY1" fmla="*/ 41563 h 427876"/>
                    <a:gd name="connsiteX2" fmla="*/ 1129820 w 1129820"/>
                    <a:gd name="connsiteY2" fmla="*/ 427876 h 427876"/>
                    <a:gd name="connsiteX3" fmla="*/ 0 w 1129820"/>
                    <a:gd name="connsiteY3" fmla="*/ 427876 h 427876"/>
                    <a:gd name="connsiteX4" fmla="*/ 145473 w 1129820"/>
                    <a:gd name="connsiteY4" fmla="*/ 0 h 427876"/>
                    <a:gd name="connsiteX0" fmla="*/ 33864 w 1018211"/>
                    <a:gd name="connsiteY0" fmla="*/ 0 h 427876"/>
                    <a:gd name="connsiteX1" fmla="*/ 1018211 w 1018211"/>
                    <a:gd name="connsiteY1" fmla="*/ 41563 h 427876"/>
                    <a:gd name="connsiteX2" fmla="*/ 1018211 w 1018211"/>
                    <a:gd name="connsiteY2" fmla="*/ 427876 h 427876"/>
                    <a:gd name="connsiteX3" fmla="*/ 151628 w 1018211"/>
                    <a:gd name="connsiteY3" fmla="*/ 310112 h 427876"/>
                    <a:gd name="connsiteX4" fmla="*/ 33864 w 1018211"/>
                    <a:gd name="connsiteY4" fmla="*/ 0 h 427876"/>
                    <a:gd name="connsiteX0" fmla="*/ 100890 w 1085237"/>
                    <a:gd name="connsiteY0" fmla="*/ 0 h 427876"/>
                    <a:gd name="connsiteX1" fmla="*/ 1085237 w 1085237"/>
                    <a:gd name="connsiteY1" fmla="*/ 41563 h 427876"/>
                    <a:gd name="connsiteX2" fmla="*/ 1085237 w 1085237"/>
                    <a:gd name="connsiteY2" fmla="*/ 427876 h 427876"/>
                    <a:gd name="connsiteX3" fmla="*/ 218654 w 1085237"/>
                    <a:gd name="connsiteY3" fmla="*/ 310112 h 427876"/>
                    <a:gd name="connsiteX4" fmla="*/ 100890 w 1085237"/>
                    <a:gd name="connsiteY4" fmla="*/ 0 h 427876"/>
                    <a:gd name="connsiteX0" fmla="*/ 103919 w 1081338"/>
                    <a:gd name="connsiteY0" fmla="*/ 0 h 448658"/>
                    <a:gd name="connsiteX1" fmla="*/ 1081338 w 1081338"/>
                    <a:gd name="connsiteY1" fmla="*/ 62345 h 448658"/>
                    <a:gd name="connsiteX2" fmla="*/ 1081338 w 1081338"/>
                    <a:gd name="connsiteY2" fmla="*/ 448658 h 448658"/>
                    <a:gd name="connsiteX3" fmla="*/ 214755 w 1081338"/>
                    <a:gd name="connsiteY3" fmla="*/ 330894 h 448658"/>
                    <a:gd name="connsiteX4" fmla="*/ 103919 w 1081338"/>
                    <a:gd name="connsiteY4" fmla="*/ 0 h 448658"/>
                    <a:gd name="connsiteX0" fmla="*/ 123695 w 1101114"/>
                    <a:gd name="connsiteY0" fmla="*/ 0 h 448658"/>
                    <a:gd name="connsiteX1" fmla="*/ 1101114 w 1101114"/>
                    <a:gd name="connsiteY1" fmla="*/ 62345 h 448658"/>
                    <a:gd name="connsiteX2" fmla="*/ 1101114 w 1101114"/>
                    <a:gd name="connsiteY2" fmla="*/ 448658 h 448658"/>
                    <a:gd name="connsiteX3" fmla="*/ 234531 w 1101114"/>
                    <a:gd name="connsiteY3" fmla="*/ 330894 h 448658"/>
                    <a:gd name="connsiteX4" fmla="*/ 123695 w 1101114"/>
                    <a:gd name="connsiteY4" fmla="*/ 0 h 448658"/>
                    <a:gd name="connsiteX0" fmla="*/ 123695 w 1101114"/>
                    <a:gd name="connsiteY0" fmla="*/ 0 h 448658"/>
                    <a:gd name="connsiteX1" fmla="*/ 1101114 w 1101114"/>
                    <a:gd name="connsiteY1" fmla="*/ 62345 h 448658"/>
                    <a:gd name="connsiteX2" fmla="*/ 1101114 w 1101114"/>
                    <a:gd name="connsiteY2" fmla="*/ 448658 h 448658"/>
                    <a:gd name="connsiteX3" fmla="*/ 403939 w 1101114"/>
                    <a:gd name="connsiteY3" fmla="*/ 175382 h 448658"/>
                    <a:gd name="connsiteX4" fmla="*/ 234531 w 1101114"/>
                    <a:gd name="connsiteY4" fmla="*/ 330894 h 448658"/>
                    <a:gd name="connsiteX5" fmla="*/ 123695 w 1101114"/>
                    <a:gd name="connsiteY5" fmla="*/ 0 h 448658"/>
                    <a:gd name="connsiteX0" fmla="*/ 123695 w 1101114"/>
                    <a:gd name="connsiteY0" fmla="*/ 4727 h 453385"/>
                    <a:gd name="connsiteX1" fmla="*/ 1101114 w 1101114"/>
                    <a:gd name="connsiteY1" fmla="*/ 67072 h 453385"/>
                    <a:gd name="connsiteX2" fmla="*/ 1101114 w 1101114"/>
                    <a:gd name="connsiteY2" fmla="*/ 453385 h 453385"/>
                    <a:gd name="connsiteX3" fmla="*/ 577120 w 1101114"/>
                    <a:gd name="connsiteY3" fmla="*/ 0 h 453385"/>
                    <a:gd name="connsiteX4" fmla="*/ 234531 w 1101114"/>
                    <a:gd name="connsiteY4" fmla="*/ 335621 h 453385"/>
                    <a:gd name="connsiteX5" fmla="*/ 123695 w 1101114"/>
                    <a:gd name="connsiteY5" fmla="*/ 4727 h 453385"/>
                    <a:gd name="connsiteX0" fmla="*/ 123695 w 1101114"/>
                    <a:gd name="connsiteY0" fmla="*/ 4727 h 453385"/>
                    <a:gd name="connsiteX1" fmla="*/ 1101114 w 1101114"/>
                    <a:gd name="connsiteY1" fmla="*/ 67072 h 453385"/>
                    <a:gd name="connsiteX2" fmla="*/ 1101114 w 1101114"/>
                    <a:gd name="connsiteY2" fmla="*/ 453385 h 453385"/>
                    <a:gd name="connsiteX3" fmla="*/ 577120 w 1101114"/>
                    <a:gd name="connsiteY3" fmla="*/ 0 h 453385"/>
                    <a:gd name="connsiteX4" fmla="*/ 234531 w 1101114"/>
                    <a:gd name="connsiteY4" fmla="*/ 335621 h 453385"/>
                    <a:gd name="connsiteX5" fmla="*/ 123695 w 1101114"/>
                    <a:gd name="connsiteY5" fmla="*/ 4727 h 453385"/>
                    <a:gd name="connsiteX0" fmla="*/ 123695 w 1101114"/>
                    <a:gd name="connsiteY0" fmla="*/ 11654 h 460312"/>
                    <a:gd name="connsiteX1" fmla="*/ 1101114 w 1101114"/>
                    <a:gd name="connsiteY1" fmla="*/ 73999 h 460312"/>
                    <a:gd name="connsiteX2" fmla="*/ 1101114 w 1101114"/>
                    <a:gd name="connsiteY2" fmla="*/ 460312 h 460312"/>
                    <a:gd name="connsiteX3" fmla="*/ 604829 w 1101114"/>
                    <a:gd name="connsiteY3" fmla="*/ 0 h 460312"/>
                    <a:gd name="connsiteX4" fmla="*/ 234531 w 1101114"/>
                    <a:gd name="connsiteY4" fmla="*/ 342548 h 460312"/>
                    <a:gd name="connsiteX5" fmla="*/ 123695 w 1101114"/>
                    <a:gd name="connsiteY5" fmla="*/ 11654 h 460312"/>
                    <a:gd name="connsiteX0" fmla="*/ 123695 w 1101114"/>
                    <a:gd name="connsiteY0" fmla="*/ 11654 h 460312"/>
                    <a:gd name="connsiteX1" fmla="*/ 1101114 w 1101114"/>
                    <a:gd name="connsiteY1" fmla="*/ 73999 h 460312"/>
                    <a:gd name="connsiteX2" fmla="*/ 1101114 w 1101114"/>
                    <a:gd name="connsiteY2" fmla="*/ 460312 h 460312"/>
                    <a:gd name="connsiteX3" fmla="*/ 604829 w 1101114"/>
                    <a:gd name="connsiteY3" fmla="*/ 0 h 460312"/>
                    <a:gd name="connsiteX4" fmla="*/ 234531 w 1101114"/>
                    <a:gd name="connsiteY4" fmla="*/ 342548 h 460312"/>
                    <a:gd name="connsiteX5" fmla="*/ 123695 w 1101114"/>
                    <a:gd name="connsiteY5" fmla="*/ 11654 h 460312"/>
                    <a:gd name="connsiteX0" fmla="*/ 123695 w 1101114"/>
                    <a:gd name="connsiteY0" fmla="*/ 11654 h 460312"/>
                    <a:gd name="connsiteX1" fmla="*/ 1101114 w 1101114"/>
                    <a:gd name="connsiteY1" fmla="*/ 73999 h 460312"/>
                    <a:gd name="connsiteX2" fmla="*/ 1101114 w 1101114"/>
                    <a:gd name="connsiteY2" fmla="*/ 460312 h 460312"/>
                    <a:gd name="connsiteX3" fmla="*/ 604829 w 1101114"/>
                    <a:gd name="connsiteY3" fmla="*/ 0 h 460312"/>
                    <a:gd name="connsiteX4" fmla="*/ 234531 w 1101114"/>
                    <a:gd name="connsiteY4" fmla="*/ 342548 h 460312"/>
                    <a:gd name="connsiteX5" fmla="*/ 123695 w 1101114"/>
                    <a:gd name="connsiteY5" fmla="*/ 11654 h 460312"/>
                    <a:gd name="connsiteX0" fmla="*/ 98893 w 1076312"/>
                    <a:gd name="connsiteY0" fmla="*/ 11654 h 460312"/>
                    <a:gd name="connsiteX1" fmla="*/ 1076312 w 1076312"/>
                    <a:gd name="connsiteY1" fmla="*/ 73999 h 460312"/>
                    <a:gd name="connsiteX2" fmla="*/ 1076312 w 1076312"/>
                    <a:gd name="connsiteY2" fmla="*/ 460312 h 460312"/>
                    <a:gd name="connsiteX3" fmla="*/ 580027 w 1076312"/>
                    <a:gd name="connsiteY3" fmla="*/ 0 h 460312"/>
                    <a:gd name="connsiteX4" fmla="*/ 209729 w 1076312"/>
                    <a:gd name="connsiteY4" fmla="*/ 342548 h 460312"/>
                    <a:gd name="connsiteX5" fmla="*/ 98893 w 1076312"/>
                    <a:gd name="connsiteY5" fmla="*/ 11654 h 460312"/>
                    <a:gd name="connsiteX0" fmla="*/ 103531 w 1080950"/>
                    <a:gd name="connsiteY0" fmla="*/ 11654 h 460312"/>
                    <a:gd name="connsiteX1" fmla="*/ 1080950 w 1080950"/>
                    <a:gd name="connsiteY1" fmla="*/ 73999 h 460312"/>
                    <a:gd name="connsiteX2" fmla="*/ 1080950 w 1080950"/>
                    <a:gd name="connsiteY2" fmla="*/ 460312 h 460312"/>
                    <a:gd name="connsiteX3" fmla="*/ 584665 w 1080950"/>
                    <a:gd name="connsiteY3" fmla="*/ 0 h 460312"/>
                    <a:gd name="connsiteX4" fmla="*/ 200512 w 1080950"/>
                    <a:gd name="connsiteY4" fmla="*/ 342548 h 460312"/>
                    <a:gd name="connsiteX5" fmla="*/ 103531 w 1080950"/>
                    <a:gd name="connsiteY5" fmla="*/ 11654 h 460312"/>
                    <a:gd name="connsiteX0" fmla="*/ 103531 w 1080950"/>
                    <a:gd name="connsiteY0" fmla="*/ 11654 h 460312"/>
                    <a:gd name="connsiteX1" fmla="*/ 1080950 w 1080950"/>
                    <a:gd name="connsiteY1" fmla="*/ 73999 h 460312"/>
                    <a:gd name="connsiteX2" fmla="*/ 1080950 w 1080950"/>
                    <a:gd name="connsiteY2" fmla="*/ 460312 h 460312"/>
                    <a:gd name="connsiteX3" fmla="*/ 584665 w 1080950"/>
                    <a:gd name="connsiteY3" fmla="*/ 0 h 460312"/>
                    <a:gd name="connsiteX4" fmla="*/ 200512 w 1080950"/>
                    <a:gd name="connsiteY4" fmla="*/ 342548 h 460312"/>
                    <a:gd name="connsiteX5" fmla="*/ 103531 w 1080950"/>
                    <a:gd name="connsiteY5" fmla="*/ 11654 h 460312"/>
                    <a:gd name="connsiteX0" fmla="*/ 115967 w 1093386"/>
                    <a:gd name="connsiteY0" fmla="*/ 11654 h 460312"/>
                    <a:gd name="connsiteX1" fmla="*/ 1093386 w 1093386"/>
                    <a:gd name="connsiteY1" fmla="*/ 73999 h 460312"/>
                    <a:gd name="connsiteX2" fmla="*/ 1093386 w 1093386"/>
                    <a:gd name="connsiteY2" fmla="*/ 460312 h 460312"/>
                    <a:gd name="connsiteX3" fmla="*/ 597101 w 1093386"/>
                    <a:gd name="connsiteY3" fmla="*/ 0 h 460312"/>
                    <a:gd name="connsiteX4" fmla="*/ 212948 w 1093386"/>
                    <a:gd name="connsiteY4" fmla="*/ 342548 h 460312"/>
                    <a:gd name="connsiteX5" fmla="*/ 115967 w 1093386"/>
                    <a:gd name="connsiteY5" fmla="*/ 11654 h 460312"/>
                    <a:gd name="connsiteX0" fmla="*/ 115967 w 1093386"/>
                    <a:gd name="connsiteY0" fmla="*/ 11654 h 460312"/>
                    <a:gd name="connsiteX1" fmla="*/ 1093386 w 1093386"/>
                    <a:gd name="connsiteY1" fmla="*/ 73999 h 460312"/>
                    <a:gd name="connsiteX2" fmla="*/ 1093386 w 1093386"/>
                    <a:gd name="connsiteY2" fmla="*/ 460312 h 460312"/>
                    <a:gd name="connsiteX3" fmla="*/ 597101 w 1093386"/>
                    <a:gd name="connsiteY3" fmla="*/ 0 h 460312"/>
                    <a:gd name="connsiteX4" fmla="*/ 212948 w 1093386"/>
                    <a:gd name="connsiteY4" fmla="*/ 342548 h 460312"/>
                    <a:gd name="connsiteX5" fmla="*/ 115967 w 1093386"/>
                    <a:gd name="connsiteY5" fmla="*/ 11654 h 460312"/>
                    <a:gd name="connsiteX0" fmla="*/ 76283 w 1053702"/>
                    <a:gd name="connsiteY0" fmla="*/ 32436 h 481094"/>
                    <a:gd name="connsiteX1" fmla="*/ 1053702 w 1053702"/>
                    <a:gd name="connsiteY1" fmla="*/ 94781 h 481094"/>
                    <a:gd name="connsiteX2" fmla="*/ 1053702 w 1053702"/>
                    <a:gd name="connsiteY2" fmla="*/ 481094 h 481094"/>
                    <a:gd name="connsiteX3" fmla="*/ 640544 w 1053702"/>
                    <a:gd name="connsiteY3" fmla="*/ 0 h 481094"/>
                    <a:gd name="connsiteX4" fmla="*/ 173264 w 1053702"/>
                    <a:gd name="connsiteY4" fmla="*/ 363330 h 481094"/>
                    <a:gd name="connsiteX5" fmla="*/ 76283 w 1053702"/>
                    <a:gd name="connsiteY5" fmla="*/ 32436 h 481094"/>
                    <a:gd name="connsiteX0" fmla="*/ 108719 w 1086138"/>
                    <a:gd name="connsiteY0" fmla="*/ 32436 h 481094"/>
                    <a:gd name="connsiteX1" fmla="*/ 1086138 w 1086138"/>
                    <a:gd name="connsiteY1" fmla="*/ 94781 h 481094"/>
                    <a:gd name="connsiteX2" fmla="*/ 1086138 w 1086138"/>
                    <a:gd name="connsiteY2" fmla="*/ 481094 h 481094"/>
                    <a:gd name="connsiteX3" fmla="*/ 672980 w 1086138"/>
                    <a:gd name="connsiteY3" fmla="*/ 0 h 481094"/>
                    <a:gd name="connsiteX4" fmla="*/ 205700 w 1086138"/>
                    <a:gd name="connsiteY4" fmla="*/ 363330 h 481094"/>
                    <a:gd name="connsiteX5" fmla="*/ 108719 w 1086138"/>
                    <a:gd name="connsiteY5" fmla="*/ 32436 h 481094"/>
                    <a:gd name="connsiteX0" fmla="*/ 108719 w 1086138"/>
                    <a:gd name="connsiteY0" fmla="*/ 32436 h 481094"/>
                    <a:gd name="connsiteX1" fmla="*/ 1086138 w 1086138"/>
                    <a:gd name="connsiteY1" fmla="*/ 94781 h 481094"/>
                    <a:gd name="connsiteX2" fmla="*/ 1086138 w 1086138"/>
                    <a:gd name="connsiteY2" fmla="*/ 481094 h 481094"/>
                    <a:gd name="connsiteX3" fmla="*/ 672980 w 1086138"/>
                    <a:gd name="connsiteY3" fmla="*/ 0 h 481094"/>
                    <a:gd name="connsiteX4" fmla="*/ 205700 w 1086138"/>
                    <a:gd name="connsiteY4" fmla="*/ 363330 h 481094"/>
                    <a:gd name="connsiteX5" fmla="*/ 108719 w 1086138"/>
                    <a:gd name="connsiteY5" fmla="*/ 32436 h 481094"/>
                    <a:gd name="connsiteX0" fmla="*/ 108719 w 1210829"/>
                    <a:gd name="connsiteY0" fmla="*/ 32436 h 481094"/>
                    <a:gd name="connsiteX1" fmla="*/ 1210829 w 1210829"/>
                    <a:gd name="connsiteY1" fmla="*/ 351090 h 481094"/>
                    <a:gd name="connsiteX2" fmla="*/ 1086138 w 1210829"/>
                    <a:gd name="connsiteY2" fmla="*/ 481094 h 481094"/>
                    <a:gd name="connsiteX3" fmla="*/ 672980 w 1210829"/>
                    <a:gd name="connsiteY3" fmla="*/ 0 h 481094"/>
                    <a:gd name="connsiteX4" fmla="*/ 205700 w 1210829"/>
                    <a:gd name="connsiteY4" fmla="*/ 363330 h 481094"/>
                    <a:gd name="connsiteX5" fmla="*/ 108719 w 1210829"/>
                    <a:gd name="connsiteY5" fmla="*/ 32436 h 481094"/>
                    <a:gd name="connsiteX0" fmla="*/ 108719 w 1210829"/>
                    <a:gd name="connsiteY0" fmla="*/ 32436 h 367783"/>
                    <a:gd name="connsiteX1" fmla="*/ 1210829 w 1210829"/>
                    <a:gd name="connsiteY1" fmla="*/ 351090 h 367783"/>
                    <a:gd name="connsiteX2" fmla="*/ 996084 w 1210829"/>
                    <a:gd name="connsiteY2" fmla="*/ 30822 h 367783"/>
                    <a:gd name="connsiteX3" fmla="*/ 672980 w 1210829"/>
                    <a:gd name="connsiteY3" fmla="*/ 0 h 367783"/>
                    <a:gd name="connsiteX4" fmla="*/ 205700 w 1210829"/>
                    <a:gd name="connsiteY4" fmla="*/ 363330 h 367783"/>
                    <a:gd name="connsiteX5" fmla="*/ 108719 w 1210829"/>
                    <a:gd name="connsiteY5" fmla="*/ 32436 h 367783"/>
                    <a:gd name="connsiteX0" fmla="*/ 108719 w 996084"/>
                    <a:gd name="connsiteY0" fmla="*/ 32436 h 600471"/>
                    <a:gd name="connsiteX1" fmla="*/ 899101 w 996084"/>
                    <a:gd name="connsiteY1" fmla="*/ 600471 h 600471"/>
                    <a:gd name="connsiteX2" fmla="*/ 996084 w 996084"/>
                    <a:gd name="connsiteY2" fmla="*/ 30822 h 600471"/>
                    <a:gd name="connsiteX3" fmla="*/ 672980 w 996084"/>
                    <a:gd name="connsiteY3" fmla="*/ 0 h 600471"/>
                    <a:gd name="connsiteX4" fmla="*/ 205700 w 996084"/>
                    <a:gd name="connsiteY4" fmla="*/ 363330 h 600471"/>
                    <a:gd name="connsiteX5" fmla="*/ 108719 w 996084"/>
                    <a:gd name="connsiteY5" fmla="*/ 32436 h 600471"/>
                    <a:gd name="connsiteX0" fmla="*/ 108719 w 899101"/>
                    <a:gd name="connsiteY0" fmla="*/ 32436 h 600471"/>
                    <a:gd name="connsiteX1" fmla="*/ 899101 w 899101"/>
                    <a:gd name="connsiteY1" fmla="*/ 600471 h 600471"/>
                    <a:gd name="connsiteX2" fmla="*/ 767484 w 899101"/>
                    <a:gd name="connsiteY2" fmla="*/ 391040 h 600471"/>
                    <a:gd name="connsiteX3" fmla="*/ 672980 w 899101"/>
                    <a:gd name="connsiteY3" fmla="*/ 0 h 600471"/>
                    <a:gd name="connsiteX4" fmla="*/ 205700 w 899101"/>
                    <a:gd name="connsiteY4" fmla="*/ 363330 h 600471"/>
                    <a:gd name="connsiteX5" fmla="*/ 108719 w 899101"/>
                    <a:gd name="connsiteY5" fmla="*/ 32436 h 600471"/>
                    <a:gd name="connsiteX0" fmla="*/ 108719 w 923424"/>
                    <a:gd name="connsiteY0" fmla="*/ 32436 h 600471"/>
                    <a:gd name="connsiteX1" fmla="*/ 899101 w 923424"/>
                    <a:gd name="connsiteY1" fmla="*/ 600471 h 600471"/>
                    <a:gd name="connsiteX2" fmla="*/ 767484 w 923424"/>
                    <a:gd name="connsiteY2" fmla="*/ 391040 h 600471"/>
                    <a:gd name="connsiteX3" fmla="*/ 672980 w 923424"/>
                    <a:gd name="connsiteY3" fmla="*/ 0 h 600471"/>
                    <a:gd name="connsiteX4" fmla="*/ 205700 w 923424"/>
                    <a:gd name="connsiteY4" fmla="*/ 363330 h 600471"/>
                    <a:gd name="connsiteX5" fmla="*/ 108719 w 923424"/>
                    <a:gd name="connsiteY5" fmla="*/ 32436 h 600471"/>
                    <a:gd name="connsiteX0" fmla="*/ 108719 w 925266"/>
                    <a:gd name="connsiteY0" fmla="*/ 34821 h 602856"/>
                    <a:gd name="connsiteX1" fmla="*/ 899101 w 925266"/>
                    <a:gd name="connsiteY1" fmla="*/ 602856 h 602856"/>
                    <a:gd name="connsiteX2" fmla="*/ 767484 w 925266"/>
                    <a:gd name="connsiteY2" fmla="*/ 393425 h 602856"/>
                    <a:gd name="connsiteX3" fmla="*/ 672980 w 925266"/>
                    <a:gd name="connsiteY3" fmla="*/ 2385 h 602856"/>
                    <a:gd name="connsiteX4" fmla="*/ 205700 w 925266"/>
                    <a:gd name="connsiteY4" fmla="*/ 365715 h 602856"/>
                    <a:gd name="connsiteX5" fmla="*/ 108719 w 925266"/>
                    <a:gd name="connsiteY5" fmla="*/ 34821 h 602856"/>
                    <a:gd name="connsiteX0" fmla="*/ 108719 w 934847"/>
                    <a:gd name="connsiteY0" fmla="*/ 32442 h 600477"/>
                    <a:gd name="connsiteX1" fmla="*/ 899101 w 934847"/>
                    <a:gd name="connsiteY1" fmla="*/ 600477 h 600477"/>
                    <a:gd name="connsiteX2" fmla="*/ 767484 w 934847"/>
                    <a:gd name="connsiteY2" fmla="*/ 391046 h 600477"/>
                    <a:gd name="connsiteX3" fmla="*/ 672980 w 934847"/>
                    <a:gd name="connsiteY3" fmla="*/ 6 h 600477"/>
                    <a:gd name="connsiteX4" fmla="*/ 205700 w 934847"/>
                    <a:gd name="connsiteY4" fmla="*/ 363336 h 600477"/>
                    <a:gd name="connsiteX5" fmla="*/ 108719 w 934847"/>
                    <a:gd name="connsiteY5" fmla="*/ 32442 h 600477"/>
                    <a:gd name="connsiteX0" fmla="*/ 108719 w 922877"/>
                    <a:gd name="connsiteY0" fmla="*/ 32442 h 600477"/>
                    <a:gd name="connsiteX1" fmla="*/ 899101 w 922877"/>
                    <a:gd name="connsiteY1" fmla="*/ 600477 h 600477"/>
                    <a:gd name="connsiteX2" fmla="*/ 767484 w 922877"/>
                    <a:gd name="connsiteY2" fmla="*/ 391046 h 600477"/>
                    <a:gd name="connsiteX3" fmla="*/ 672980 w 922877"/>
                    <a:gd name="connsiteY3" fmla="*/ 6 h 600477"/>
                    <a:gd name="connsiteX4" fmla="*/ 205700 w 922877"/>
                    <a:gd name="connsiteY4" fmla="*/ 363336 h 600477"/>
                    <a:gd name="connsiteX5" fmla="*/ 108719 w 922877"/>
                    <a:gd name="connsiteY5" fmla="*/ 32442 h 600477"/>
                    <a:gd name="connsiteX0" fmla="*/ 108719 w 940851"/>
                    <a:gd name="connsiteY0" fmla="*/ 32442 h 600477"/>
                    <a:gd name="connsiteX1" fmla="*/ 899101 w 940851"/>
                    <a:gd name="connsiteY1" fmla="*/ 600477 h 600477"/>
                    <a:gd name="connsiteX2" fmla="*/ 767484 w 940851"/>
                    <a:gd name="connsiteY2" fmla="*/ 391046 h 600477"/>
                    <a:gd name="connsiteX3" fmla="*/ 672980 w 940851"/>
                    <a:gd name="connsiteY3" fmla="*/ 6 h 600477"/>
                    <a:gd name="connsiteX4" fmla="*/ 205700 w 940851"/>
                    <a:gd name="connsiteY4" fmla="*/ 363336 h 600477"/>
                    <a:gd name="connsiteX5" fmla="*/ 108719 w 940851"/>
                    <a:gd name="connsiteY5" fmla="*/ 32442 h 600477"/>
                    <a:gd name="connsiteX0" fmla="*/ 108719 w 942823"/>
                    <a:gd name="connsiteY0" fmla="*/ 35699 h 603734"/>
                    <a:gd name="connsiteX1" fmla="*/ 899101 w 942823"/>
                    <a:gd name="connsiteY1" fmla="*/ 603734 h 603734"/>
                    <a:gd name="connsiteX2" fmla="*/ 767484 w 942823"/>
                    <a:gd name="connsiteY2" fmla="*/ 394303 h 603734"/>
                    <a:gd name="connsiteX3" fmla="*/ 672980 w 942823"/>
                    <a:gd name="connsiteY3" fmla="*/ 3263 h 603734"/>
                    <a:gd name="connsiteX4" fmla="*/ 205700 w 942823"/>
                    <a:gd name="connsiteY4" fmla="*/ 366593 h 603734"/>
                    <a:gd name="connsiteX5" fmla="*/ 108719 w 942823"/>
                    <a:gd name="connsiteY5" fmla="*/ 35699 h 603734"/>
                    <a:gd name="connsiteX0" fmla="*/ 108719 w 942823"/>
                    <a:gd name="connsiteY0" fmla="*/ 35699 h 603734"/>
                    <a:gd name="connsiteX1" fmla="*/ 899101 w 942823"/>
                    <a:gd name="connsiteY1" fmla="*/ 603734 h 603734"/>
                    <a:gd name="connsiteX2" fmla="*/ 767484 w 942823"/>
                    <a:gd name="connsiteY2" fmla="*/ 394303 h 603734"/>
                    <a:gd name="connsiteX3" fmla="*/ 672980 w 942823"/>
                    <a:gd name="connsiteY3" fmla="*/ 3263 h 603734"/>
                    <a:gd name="connsiteX4" fmla="*/ 205700 w 942823"/>
                    <a:gd name="connsiteY4" fmla="*/ 366593 h 603734"/>
                    <a:gd name="connsiteX5" fmla="*/ 108719 w 942823"/>
                    <a:gd name="connsiteY5" fmla="*/ 35699 h 603734"/>
                    <a:gd name="connsiteX0" fmla="*/ 108719 w 942823"/>
                    <a:gd name="connsiteY0" fmla="*/ 35699 h 394303"/>
                    <a:gd name="connsiteX1" fmla="*/ 635865 w 942823"/>
                    <a:gd name="connsiteY1" fmla="*/ 354352 h 394303"/>
                    <a:gd name="connsiteX2" fmla="*/ 767484 w 942823"/>
                    <a:gd name="connsiteY2" fmla="*/ 394303 h 394303"/>
                    <a:gd name="connsiteX3" fmla="*/ 672980 w 942823"/>
                    <a:gd name="connsiteY3" fmla="*/ 3263 h 394303"/>
                    <a:gd name="connsiteX4" fmla="*/ 205700 w 942823"/>
                    <a:gd name="connsiteY4" fmla="*/ 366593 h 394303"/>
                    <a:gd name="connsiteX5" fmla="*/ 108719 w 942823"/>
                    <a:gd name="connsiteY5" fmla="*/ 35699 h 394303"/>
                    <a:gd name="connsiteX0" fmla="*/ 108719 w 942823"/>
                    <a:gd name="connsiteY0" fmla="*/ 35699 h 394303"/>
                    <a:gd name="connsiteX1" fmla="*/ 714545 w 942823"/>
                    <a:gd name="connsiteY1" fmla="*/ 30975 h 394303"/>
                    <a:gd name="connsiteX2" fmla="*/ 635865 w 942823"/>
                    <a:gd name="connsiteY2" fmla="*/ 354352 h 394303"/>
                    <a:gd name="connsiteX3" fmla="*/ 767484 w 942823"/>
                    <a:gd name="connsiteY3" fmla="*/ 394303 h 394303"/>
                    <a:gd name="connsiteX4" fmla="*/ 672980 w 942823"/>
                    <a:gd name="connsiteY4" fmla="*/ 3263 h 394303"/>
                    <a:gd name="connsiteX5" fmla="*/ 205700 w 942823"/>
                    <a:gd name="connsiteY5" fmla="*/ 366593 h 394303"/>
                    <a:gd name="connsiteX6" fmla="*/ 108719 w 942823"/>
                    <a:gd name="connsiteY6" fmla="*/ 35699 h 394303"/>
                    <a:gd name="connsiteX0" fmla="*/ 108719 w 942823"/>
                    <a:gd name="connsiteY0" fmla="*/ 35699 h 394303"/>
                    <a:gd name="connsiteX1" fmla="*/ 714545 w 942823"/>
                    <a:gd name="connsiteY1" fmla="*/ 30975 h 394303"/>
                    <a:gd name="connsiteX2" fmla="*/ 635865 w 942823"/>
                    <a:gd name="connsiteY2" fmla="*/ 354352 h 394303"/>
                    <a:gd name="connsiteX3" fmla="*/ 767484 w 942823"/>
                    <a:gd name="connsiteY3" fmla="*/ 394303 h 394303"/>
                    <a:gd name="connsiteX4" fmla="*/ 672980 w 942823"/>
                    <a:gd name="connsiteY4" fmla="*/ 3263 h 394303"/>
                    <a:gd name="connsiteX5" fmla="*/ 205700 w 942823"/>
                    <a:gd name="connsiteY5" fmla="*/ 366593 h 394303"/>
                    <a:gd name="connsiteX6" fmla="*/ 108719 w 942823"/>
                    <a:gd name="connsiteY6" fmla="*/ 35699 h 394303"/>
                    <a:gd name="connsiteX0" fmla="*/ 108719 w 942823"/>
                    <a:gd name="connsiteY0" fmla="*/ 35699 h 394303"/>
                    <a:gd name="connsiteX1" fmla="*/ 714545 w 942823"/>
                    <a:gd name="connsiteY1" fmla="*/ 30975 h 394303"/>
                    <a:gd name="connsiteX2" fmla="*/ 635865 w 942823"/>
                    <a:gd name="connsiteY2" fmla="*/ 354352 h 394303"/>
                    <a:gd name="connsiteX3" fmla="*/ 767484 w 942823"/>
                    <a:gd name="connsiteY3" fmla="*/ 394303 h 394303"/>
                    <a:gd name="connsiteX4" fmla="*/ 672980 w 942823"/>
                    <a:gd name="connsiteY4" fmla="*/ 3263 h 394303"/>
                    <a:gd name="connsiteX5" fmla="*/ 205700 w 942823"/>
                    <a:gd name="connsiteY5" fmla="*/ 366593 h 394303"/>
                    <a:gd name="connsiteX6" fmla="*/ 108719 w 942823"/>
                    <a:gd name="connsiteY6" fmla="*/ 35699 h 394303"/>
                    <a:gd name="connsiteX0" fmla="*/ 108719 w 942823"/>
                    <a:gd name="connsiteY0" fmla="*/ 35699 h 394303"/>
                    <a:gd name="connsiteX1" fmla="*/ 714545 w 942823"/>
                    <a:gd name="connsiteY1" fmla="*/ 30975 h 394303"/>
                    <a:gd name="connsiteX2" fmla="*/ 635865 w 942823"/>
                    <a:gd name="connsiteY2" fmla="*/ 354352 h 394303"/>
                    <a:gd name="connsiteX3" fmla="*/ 767484 w 942823"/>
                    <a:gd name="connsiteY3" fmla="*/ 394303 h 394303"/>
                    <a:gd name="connsiteX4" fmla="*/ 672980 w 942823"/>
                    <a:gd name="connsiteY4" fmla="*/ 3263 h 394303"/>
                    <a:gd name="connsiteX5" fmla="*/ 205700 w 942823"/>
                    <a:gd name="connsiteY5" fmla="*/ 366593 h 394303"/>
                    <a:gd name="connsiteX6" fmla="*/ 108719 w 942823"/>
                    <a:gd name="connsiteY6" fmla="*/ 35699 h 394303"/>
                    <a:gd name="connsiteX0" fmla="*/ 108719 w 942823"/>
                    <a:gd name="connsiteY0" fmla="*/ 35699 h 394303"/>
                    <a:gd name="connsiteX1" fmla="*/ 714545 w 942823"/>
                    <a:gd name="connsiteY1" fmla="*/ 30975 h 394303"/>
                    <a:gd name="connsiteX2" fmla="*/ 635865 w 942823"/>
                    <a:gd name="connsiteY2" fmla="*/ 354352 h 394303"/>
                    <a:gd name="connsiteX3" fmla="*/ 767484 w 942823"/>
                    <a:gd name="connsiteY3" fmla="*/ 394303 h 394303"/>
                    <a:gd name="connsiteX4" fmla="*/ 672980 w 942823"/>
                    <a:gd name="connsiteY4" fmla="*/ 3263 h 394303"/>
                    <a:gd name="connsiteX5" fmla="*/ 205700 w 942823"/>
                    <a:gd name="connsiteY5" fmla="*/ 366593 h 394303"/>
                    <a:gd name="connsiteX6" fmla="*/ 108719 w 942823"/>
                    <a:gd name="connsiteY6" fmla="*/ 35699 h 394303"/>
                    <a:gd name="connsiteX0" fmla="*/ 108719 w 942823"/>
                    <a:gd name="connsiteY0" fmla="*/ 35699 h 394303"/>
                    <a:gd name="connsiteX1" fmla="*/ 714545 w 942823"/>
                    <a:gd name="connsiteY1" fmla="*/ 30975 h 394303"/>
                    <a:gd name="connsiteX2" fmla="*/ 635865 w 942823"/>
                    <a:gd name="connsiteY2" fmla="*/ 354352 h 394303"/>
                    <a:gd name="connsiteX3" fmla="*/ 767484 w 942823"/>
                    <a:gd name="connsiteY3" fmla="*/ 394303 h 394303"/>
                    <a:gd name="connsiteX4" fmla="*/ 672980 w 942823"/>
                    <a:gd name="connsiteY4" fmla="*/ 3263 h 394303"/>
                    <a:gd name="connsiteX5" fmla="*/ 205700 w 942823"/>
                    <a:gd name="connsiteY5" fmla="*/ 366593 h 394303"/>
                    <a:gd name="connsiteX6" fmla="*/ 108719 w 942823"/>
                    <a:gd name="connsiteY6" fmla="*/ 35699 h 394303"/>
                    <a:gd name="connsiteX0" fmla="*/ 108719 w 942823"/>
                    <a:gd name="connsiteY0" fmla="*/ 35699 h 394303"/>
                    <a:gd name="connsiteX1" fmla="*/ 243490 w 942823"/>
                    <a:gd name="connsiteY1" fmla="*/ 391193 h 394303"/>
                    <a:gd name="connsiteX2" fmla="*/ 714545 w 942823"/>
                    <a:gd name="connsiteY2" fmla="*/ 30975 h 394303"/>
                    <a:gd name="connsiteX3" fmla="*/ 635865 w 942823"/>
                    <a:gd name="connsiteY3" fmla="*/ 354352 h 394303"/>
                    <a:gd name="connsiteX4" fmla="*/ 767484 w 942823"/>
                    <a:gd name="connsiteY4" fmla="*/ 394303 h 394303"/>
                    <a:gd name="connsiteX5" fmla="*/ 672980 w 942823"/>
                    <a:gd name="connsiteY5" fmla="*/ 3263 h 394303"/>
                    <a:gd name="connsiteX6" fmla="*/ 205700 w 942823"/>
                    <a:gd name="connsiteY6" fmla="*/ 366593 h 394303"/>
                    <a:gd name="connsiteX7" fmla="*/ 108719 w 942823"/>
                    <a:gd name="connsiteY7" fmla="*/ 35699 h 394303"/>
                    <a:gd name="connsiteX0" fmla="*/ 108719 w 942823"/>
                    <a:gd name="connsiteY0" fmla="*/ 35699 h 394303"/>
                    <a:gd name="connsiteX1" fmla="*/ 243490 w 942823"/>
                    <a:gd name="connsiteY1" fmla="*/ 391193 h 394303"/>
                    <a:gd name="connsiteX2" fmla="*/ 714545 w 942823"/>
                    <a:gd name="connsiteY2" fmla="*/ 30975 h 394303"/>
                    <a:gd name="connsiteX3" fmla="*/ 635865 w 942823"/>
                    <a:gd name="connsiteY3" fmla="*/ 354352 h 394303"/>
                    <a:gd name="connsiteX4" fmla="*/ 767484 w 942823"/>
                    <a:gd name="connsiteY4" fmla="*/ 394303 h 394303"/>
                    <a:gd name="connsiteX5" fmla="*/ 672980 w 942823"/>
                    <a:gd name="connsiteY5" fmla="*/ 3263 h 394303"/>
                    <a:gd name="connsiteX6" fmla="*/ 205700 w 942823"/>
                    <a:gd name="connsiteY6" fmla="*/ 366593 h 394303"/>
                    <a:gd name="connsiteX7" fmla="*/ 108719 w 942823"/>
                    <a:gd name="connsiteY7" fmla="*/ 35699 h 394303"/>
                    <a:gd name="connsiteX0" fmla="*/ 108719 w 942823"/>
                    <a:gd name="connsiteY0" fmla="*/ 35699 h 394303"/>
                    <a:gd name="connsiteX1" fmla="*/ 243490 w 942823"/>
                    <a:gd name="connsiteY1" fmla="*/ 391193 h 394303"/>
                    <a:gd name="connsiteX2" fmla="*/ 714545 w 942823"/>
                    <a:gd name="connsiteY2" fmla="*/ 30975 h 394303"/>
                    <a:gd name="connsiteX3" fmla="*/ 635865 w 942823"/>
                    <a:gd name="connsiteY3" fmla="*/ 354352 h 394303"/>
                    <a:gd name="connsiteX4" fmla="*/ 767484 w 942823"/>
                    <a:gd name="connsiteY4" fmla="*/ 394303 h 394303"/>
                    <a:gd name="connsiteX5" fmla="*/ 672980 w 942823"/>
                    <a:gd name="connsiteY5" fmla="*/ 3263 h 394303"/>
                    <a:gd name="connsiteX6" fmla="*/ 205700 w 942823"/>
                    <a:gd name="connsiteY6" fmla="*/ 366593 h 394303"/>
                    <a:gd name="connsiteX7" fmla="*/ 108719 w 942823"/>
                    <a:gd name="connsiteY7" fmla="*/ 35699 h 394303"/>
                    <a:gd name="connsiteX0" fmla="*/ 108719 w 942823"/>
                    <a:gd name="connsiteY0" fmla="*/ 35699 h 394303"/>
                    <a:gd name="connsiteX1" fmla="*/ 243490 w 942823"/>
                    <a:gd name="connsiteY1" fmla="*/ 391193 h 394303"/>
                    <a:gd name="connsiteX2" fmla="*/ 714545 w 942823"/>
                    <a:gd name="connsiteY2" fmla="*/ 30975 h 394303"/>
                    <a:gd name="connsiteX3" fmla="*/ 635865 w 942823"/>
                    <a:gd name="connsiteY3" fmla="*/ 354352 h 394303"/>
                    <a:gd name="connsiteX4" fmla="*/ 767484 w 942823"/>
                    <a:gd name="connsiteY4" fmla="*/ 394303 h 394303"/>
                    <a:gd name="connsiteX5" fmla="*/ 672980 w 942823"/>
                    <a:gd name="connsiteY5" fmla="*/ 3263 h 394303"/>
                    <a:gd name="connsiteX6" fmla="*/ 205700 w 942823"/>
                    <a:gd name="connsiteY6" fmla="*/ 366593 h 394303"/>
                    <a:gd name="connsiteX7" fmla="*/ 108719 w 942823"/>
                    <a:gd name="connsiteY7" fmla="*/ 35699 h 394303"/>
                    <a:gd name="connsiteX0" fmla="*/ 108719 w 942823"/>
                    <a:gd name="connsiteY0" fmla="*/ 35699 h 394303"/>
                    <a:gd name="connsiteX1" fmla="*/ 243490 w 942823"/>
                    <a:gd name="connsiteY1" fmla="*/ 391193 h 394303"/>
                    <a:gd name="connsiteX2" fmla="*/ 714545 w 942823"/>
                    <a:gd name="connsiteY2" fmla="*/ 30975 h 394303"/>
                    <a:gd name="connsiteX3" fmla="*/ 635865 w 942823"/>
                    <a:gd name="connsiteY3" fmla="*/ 354352 h 394303"/>
                    <a:gd name="connsiteX4" fmla="*/ 767484 w 942823"/>
                    <a:gd name="connsiteY4" fmla="*/ 394303 h 394303"/>
                    <a:gd name="connsiteX5" fmla="*/ 672980 w 942823"/>
                    <a:gd name="connsiteY5" fmla="*/ 3263 h 394303"/>
                    <a:gd name="connsiteX6" fmla="*/ 205700 w 942823"/>
                    <a:gd name="connsiteY6" fmla="*/ 366593 h 394303"/>
                    <a:gd name="connsiteX7" fmla="*/ 108719 w 942823"/>
                    <a:gd name="connsiteY7" fmla="*/ 35699 h 394303"/>
                    <a:gd name="connsiteX0" fmla="*/ 99206 w 933310"/>
                    <a:gd name="connsiteY0" fmla="*/ 35699 h 394303"/>
                    <a:gd name="connsiteX1" fmla="*/ 233977 w 933310"/>
                    <a:gd name="connsiteY1" fmla="*/ 391193 h 394303"/>
                    <a:gd name="connsiteX2" fmla="*/ 705032 w 933310"/>
                    <a:gd name="connsiteY2" fmla="*/ 30975 h 394303"/>
                    <a:gd name="connsiteX3" fmla="*/ 626352 w 933310"/>
                    <a:gd name="connsiteY3" fmla="*/ 354352 h 394303"/>
                    <a:gd name="connsiteX4" fmla="*/ 757971 w 933310"/>
                    <a:gd name="connsiteY4" fmla="*/ 394303 h 394303"/>
                    <a:gd name="connsiteX5" fmla="*/ 663467 w 933310"/>
                    <a:gd name="connsiteY5" fmla="*/ 3263 h 394303"/>
                    <a:gd name="connsiteX6" fmla="*/ 223896 w 933310"/>
                    <a:gd name="connsiteY6" fmla="*/ 338883 h 394303"/>
                    <a:gd name="connsiteX7" fmla="*/ 99206 w 933310"/>
                    <a:gd name="connsiteY7" fmla="*/ 35699 h 394303"/>
                    <a:gd name="connsiteX0" fmla="*/ 111296 w 945400"/>
                    <a:gd name="connsiteY0" fmla="*/ 35699 h 394303"/>
                    <a:gd name="connsiteX1" fmla="*/ 246067 w 945400"/>
                    <a:gd name="connsiteY1" fmla="*/ 391193 h 394303"/>
                    <a:gd name="connsiteX2" fmla="*/ 717122 w 945400"/>
                    <a:gd name="connsiteY2" fmla="*/ 30975 h 394303"/>
                    <a:gd name="connsiteX3" fmla="*/ 638442 w 945400"/>
                    <a:gd name="connsiteY3" fmla="*/ 354352 h 394303"/>
                    <a:gd name="connsiteX4" fmla="*/ 770061 w 945400"/>
                    <a:gd name="connsiteY4" fmla="*/ 394303 h 394303"/>
                    <a:gd name="connsiteX5" fmla="*/ 675557 w 945400"/>
                    <a:gd name="connsiteY5" fmla="*/ 3263 h 394303"/>
                    <a:gd name="connsiteX6" fmla="*/ 201349 w 945400"/>
                    <a:gd name="connsiteY6" fmla="*/ 380446 h 394303"/>
                    <a:gd name="connsiteX7" fmla="*/ 111296 w 945400"/>
                    <a:gd name="connsiteY7" fmla="*/ 35699 h 394303"/>
                    <a:gd name="connsiteX0" fmla="*/ 111296 w 945400"/>
                    <a:gd name="connsiteY0" fmla="*/ 35699 h 394303"/>
                    <a:gd name="connsiteX1" fmla="*/ 232213 w 945400"/>
                    <a:gd name="connsiteY1" fmla="*/ 328847 h 394303"/>
                    <a:gd name="connsiteX2" fmla="*/ 717122 w 945400"/>
                    <a:gd name="connsiteY2" fmla="*/ 30975 h 394303"/>
                    <a:gd name="connsiteX3" fmla="*/ 638442 w 945400"/>
                    <a:gd name="connsiteY3" fmla="*/ 354352 h 394303"/>
                    <a:gd name="connsiteX4" fmla="*/ 770061 w 945400"/>
                    <a:gd name="connsiteY4" fmla="*/ 394303 h 394303"/>
                    <a:gd name="connsiteX5" fmla="*/ 675557 w 945400"/>
                    <a:gd name="connsiteY5" fmla="*/ 3263 h 394303"/>
                    <a:gd name="connsiteX6" fmla="*/ 201349 w 945400"/>
                    <a:gd name="connsiteY6" fmla="*/ 380446 h 394303"/>
                    <a:gd name="connsiteX7" fmla="*/ 111296 w 945400"/>
                    <a:gd name="connsiteY7" fmla="*/ 35699 h 394303"/>
                    <a:gd name="connsiteX0" fmla="*/ 111296 w 945400"/>
                    <a:gd name="connsiteY0" fmla="*/ 35699 h 394303"/>
                    <a:gd name="connsiteX1" fmla="*/ 232213 w 945400"/>
                    <a:gd name="connsiteY1" fmla="*/ 328847 h 394303"/>
                    <a:gd name="connsiteX2" fmla="*/ 717122 w 945400"/>
                    <a:gd name="connsiteY2" fmla="*/ 30975 h 394303"/>
                    <a:gd name="connsiteX3" fmla="*/ 638442 w 945400"/>
                    <a:gd name="connsiteY3" fmla="*/ 354352 h 394303"/>
                    <a:gd name="connsiteX4" fmla="*/ 770061 w 945400"/>
                    <a:gd name="connsiteY4" fmla="*/ 394303 h 394303"/>
                    <a:gd name="connsiteX5" fmla="*/ 675557 w 945400"/>
                    <a:gd name="connsiteY5" fmla="*/ 3263 h 394303"/>
                    <a:gd name="connsiteX6" fmla="*/ 201349 w 945400"/>
                    <a:gd name="connsiteY6" fmla="*/ 380446 h 394303"/>
                    <a:gd name="connsiteX7" fmla="*/ 111296 w 945400"/>
                    <a:gd name="connsiteY7" fmla="*/ 35699 h 394303"/>
                    <a:gd name="connsiteX0" fmla="*/ 94898 w 929002"/>
                    <a:gd name="connsiteY0" fmla="*/ 35699 h 394303"/>
                    <a:gd name="connsiteX1" fmla="*/ 215815 w 929002"/>
                    <a:gd name="connsiteY1" fmla="*/ 328847 h 394303"/>
                    <a:gd name="connsiteX2" fmla="*/ 700724 w 929002"/>
                    <a:gd name="connsiteY2" fmla="*/ 30975 h 394303"/>
                    <a:gd name="connsiteX3" fmla="*/ 622044 w 929002"/>
                    <a:gd name="connsiteY3" fmla="*/ 354352 h 394303"/>
                    <a:gd name="connsiteX4" fmla="*/ 753663 w 929002"/>
                    <a:gd name="connsiteY4" fmla="*/ 394303 h 394303"/>
                    <a:gd name="connsiteX5" fmla="*/ 659159 w 929002"/>
                    <a:gd name="connsiteY5" fmla="*/ 3263 h 394303"/>
                    <a:gd name="connsiteX6" fmla="*/ 233442 w 929002"/>
                    <a:gd name="connsiteY6" fmla="*/ 380446 h 394303"/>
                    <a:gd name="connsiteX7" fmla="*/ 94898 w 929002"/>
                    <a:gd name="connsiteY7" fmla="*/ 35699 h 394303"/>
                    <a:gd name="connsiteX0" fmla="*/ 98467 w 932571"/>
                    <a:gd name="connsiteY0" fmla="*/ 35699 h 394303"/>
                    <a:gd name="connsiteX1" fmla="*/ 219384 w 932571"/>
                    <a:gd name="connsiteY1" fmla="*/ 328847 h 394303"/>
                    <a:gd name="connsiteX2" fmla="*/ 704293 w 932571"/>
                    <a:gd name="connsiteY2" fmla="*/ 30975 h 394303"/>
                    <a:gd name="connsiteX3" fmla="*/ 625613 w 932571"/>
                    <a:gd name="connsiteY3" fmla="*/ 354352 h 394303"/>
                    <a:gd name="connsiteX4" fmla="*/ 757232 w 932571"/>
                    <a:gd name="connsiteY4" fmla="*/ 394303 h 394303"/>
                    <a:gd name="connsiteX5" fmla="*/ 662728 w 932571"/>
                    <a:gd name="connsiteY5" fmla="*/ 3263 h 394303"/>
                    <a:gd name="connsiteX6" fmla="*/ 237011 w 932571"/>
                    <a:gd name="connsiteY6" fmla="*/ 380446 h 394303"/>
                    <a:gd name="connsiteX7" fmla="*/ 98467 w 932571"/>
                    <a:gd name="connsiteY7" fmla="*/ 35699 h 394303"/>
                    <a:gd name="connsiteX0" fmla="*/ 105342 w 939446"/>
                    <a:gd name="connsiteY0" fmla="*/ 35699 h 394303"/>
                    <a:gd name="connsiteX1" fmla="*/ 226259 w 939446"/>
                    <a:gd name="connsiteY1" fmla="*/ 328847 h 394303"/>
                    <a:gd name="connsiteX2" fmla="*/ 711168 w 939446"/>
                    <a:gd name="connsiteY2" fmla="*/ 30975 h 394303"/>
                    <a:gd name="connsiteX3" fmla="*/ 632488 w 939446"/>
                    <a:gd name="connsiteY3" fmla="*/ 354352 h 394303"/>
                    <a:gd name="connsiteX4" fmla="*/ 764107 w 939446"/>
                    <a:gd name="connsiteY4" fmla="*/ 394303 h 394303"/>
                    <a:gd name="connsiteX5" fmla="*/ 669603 w 939446"/>
                    <a:gd name="connsiteY5" fmla="*/ 3263 h 394303"/>
                    <a:gd name="connsiteX6" fmla="*/ 223105 w 939446"/>
                    <a:gd name="connsiteY6" fmla="*/ 352737 h 394303"/>
                    <a:gd name="connsiteX7" fmla="*/ 105342 w 939446"/>
                    <a:gd name="connsiteY7" fmla="*/ 35699 h 394303"/>
                    <a:gd name="connsiteX0" fmla="*/ 105342 w 939446"/>
                    <a:gd name="connsiteY0" fmla="*/ 35699 h 403258"/>
                    <a:gd name="connsiteX1" fmla="*/ 198550 w 939446"/>
                    <a:gd name="connsiteY1" fmla="*/ 363484 h 403258"/>
                    <a:gd name="connsiteX2" fmla="*/ 711168 w 939446"/>
                    <a:gd name="connsiteY2" fmla="*/ 30975 h 403258"/>
                    <a:gd name="connsiteX3" fmla="*/ 632488 w 939446"/>
                    <a:gd name="connsiteY3" fmla="*/ 354352 h 403258"/>
                    <a:gd name="connsiteX4" fmla="*/ 764107 w 939446"/>
                    <a:gd name="connsiteY4" fmla="*/ 394303 h 403258"/>
                    <a:gd name="connsiteX5" fmla="*/ 669603 w 939446"/>
                    <a:gd name="connsiteY5" fmla="*/ 3263 h 403258"/>
                    <a:gd name="connsiteX6" fmla="*/ 223105 w 939446"/>
                    <a:gd name="connsiteY6" fmla="*/ 352737 h 403258"/>
                    <a:gd name="connsiteX7" fmla="*/ 105342 w 939446"/>
                    <a:gd name="connsiteY7" fmla="*/ 35699 h 403258"/>
                    <a:gd name="connsiteX0" fmla="*/ 105342 w 939446"/>
                    <a:gd name="connsiteY0" fmla="*/ 35699 h 394303"/>
                    <a:gd name="connsiteX1" fmla="*/ 198550 w 939446"/>
                    <a:gd name="connsiteY1" fmla="*/ 363484 h 394303"/>
                    <a:gd name="connsiteX2" fmla="*/ 711168 w 939446"/>
                    <a:gd name="connsiteY2" fmla="*/ 30975 h 394303"/>
                    <a:gd name="connsiteX3" fmla="*/ 632488 w 939446"/>
                    <a:gd name="connsiteY3" fmla="*/ 354352 h 394303"/>
                    <a:gd name="connsiteX4" fmla="*/ 764107 w 939446"/>
                    <a:gd name="connsiteY4" fmla="*/ 394303 h 394303"/>
                    <a:gd name="connsiteX5" fmla="*/ 669603 w 939446"/>
                    <a:gd name="connsiteY5" fmla="*/ 3263 h 394303"/>
                    <a:gd name="connsiteX6" fmla="*/ 223105 w 939446"/>
                    <a:gd name="connsiteY6" fmla="*/ 352737 h 394303"/>
                    <a:gd name="connsiteX7" fmla="*/ 105342 w 939446"/>
                    <a:gd name="connsiteY7" fmla="*/ 35699 h 394303"/>
                    <a:gd name="connsiteX0" fmla="*/ 105342 w 939446"/>
                    <a:gd name="connsiteY0" fmla="*/ 35699 h 394303"/>
                    <a:gd name="connsiteX1" fmla="*/ 198550 w 939446"/>
                    <a:gd name="connsiteY1" fmla="*/ 363484 h 394303"/>
                    <a:gd name="connsiteX2" fmla="*/ 711168 w 939446"/>
                    <a:gd name="connsiteY2" fmla="*/ 30975 h 394303"/>
                    <a:gd name="connsiteX3" fmla="*/ 632488 w 939446"/>
                    <a:gd name="connsiteY3" fmla="*/ 354352 h 394303"/>
                    <a:gd name="connsiteX4" fmla="*/ 764107 w 939446"/>
                    <a:gd name="connsiteY4" fmla="*/ 394303 h 394303"/>
                    <a:gd name="connsiteX5" fmla="*/ 669603 w 939446"/>
                    <a:gd name="connsiteY5" fmla="*/ 3263 h 394303"/>
                    <a:gd name="connsiteX6" fmla="*/ 223105 w 939446"/>
                    <a:gd name="connsiteY6" fmla="*/ 352737 h 394303"/>
                    <a:gd name="connsiteX7" fmla="*/ 105342 w 939446"/>
                    <a:gd name="connsiteY7" fmla="*/ 35699 h 394303"/>
                    <a:gd name="connsiteX0" fmla="*/ 105342 w 939446"/>
                    <a:gd name="connsiteY0" fmla="*/ 35699 h 394303"/>
                    <a:gd name="connsiteX1" fmla="*/ 170841 w 939446"/>
                    <a:gd name="connsiteY1" fmla="*/ 37902 h 394303"/>
                    <a:gd name="connsiteX2" fmla="*/ 198550 w 939446"/>
                    <a:gd name="connsiteY2" fmla="*/ 363484 h 394303"/>
                    <a:gd name="connsiteX3" fmla="*/ 711168 w 939446"/>
                    <a:gd name="connsiteY3" fmla="*/ 30975 h 394303"/>
                    <a:gd name="connsiteX4" fmla="*/ 632488 w 939446"/>
                    <a:gd name="connsiteY4" fmla="*/ 354352 h 394303"/>
                    <a:gd name="connsiteX5" fmla="*/ 764107 w 939446"/>
                    <a:gd name="connsiteY5" fmla="*/ 394303 h 394303"/>
                    <a:gd name="connsiteX6" fmla="*/ 669603 w 939446"/>
                    <a:gd name="connsiteY6" fmla="*/ 3263 h 394303"/>
                    <a:gd name="connsiteX7" fmla="*/ 223105 w 939446"/>
                    <a:gd name="connsiteY7" fmla="*/ 352737 h 394303"/>
                    <a:gd name="connsiteX8" fmla="*/ 105342 w 939446"/>
                    <a:gd name="connsiteY8" fmla="*/ 35699 h 394303"/>
                    <a:gd name="connsiteX0" fmla="*/ 105342 w 939446"/>
                    <a:gd name="connsiteY0" fmla="*/ 35699 h 394303"/>
                    <a:gd name="connsiteX1" fmla="*/ 170841 w 939446"/>
                    <a:gd name="connsiteY1" fmla="*/ 37902 h 394303"/>
                    <a:gd name="connsiteX2" fmla="*/ 198550 w 939446"/>
                    <a:gd name="connsiteY2" fmla="*/ 363484 h 394303"/>
                    <a:gd name="connsiteX3" fmla="*/ 711168 w 939446"/>
                    <a:gd name="connsiteY3" fmla="*/ 30975 h 394303"/>
                    <a:gd name="connsiteX4" fmla="*/ 632488 w 939446"/>
                    <a:gd name="connsiteY4" fmla="*/ 354352 h 394303"/>
                    <a:gd name="connsiteX5" fmla="*/ 764107 w 939446"/>
                    <a:gd name="connsiteY5" fmla="*/ 394303 h 394303"/>
                    <a:gd name="connsiteX6" fmla="*/ 669603 w 939446"/>
                    <a:gd name="connsiteY6" fmla="*/ 3263 h 394303"/>
                    <a:gd name="connsiteX7" fmla="*/ 223105 w 939446"/>
                    <a:gd name="connsiteY7" fmla="*/ 352737 h 394303"/>
                    <a:gd name="connsiteX8" fmla="*/ 105342 w 939446"/>
                    <a:gd name="connsiteY8" fmla="*/ 35699 h 394303"/>
                    <a:gd name="connsiteX0" fmla="*/ 105342 w 939446"/>
                    <a:gd name="connsiteY0" fmla="*/ 35699 h 394303"/>
                    <a:gd name="connsiteX1" fmla="*/ 170841 w 939446"/>
                    <a:gd name="connsiteY1" fmla="*/ 37902 h 394303"/>
                    <a:gd name="connsiteX2" fmla="*/ 198550 w 939446"/>
                    <a:gd name="connsiteY2" fmla="*/ 363484 h 394303"/>
                    <a:gd name="connsiteX3" fmla="*/ 711168 w 939446"/>
                    <a:gd name="connsiteY3" fmla="*/ 30975 h 394303"/>
                    <a:gd name="connsiteX4" fmla="*/ 632488 w 939446"/>
                    <a:gd name="connsiteY4" fmla="*/ 354352 h 394303"/>
                    <a:gd name="connsiteX5" fmla="*/ 764107 w 939446"/>
                    <a:gd name="connsiteY5" fmla="*/ 394303 h 394303"/>
                    <a:gd name="connsiteX6" fmla="*/ 669603 w 939446"/>
                    <a:gd name="connsiteY6" fmla="*/ 3263 h 394303"/>
                    <a:gd name="connsiteX7" fmla="*/ 223105 w 939446"/>
                    <a:gd name="connsiteY7" fmla="*/ 352737 h 394303"/>
                    <a:gd name="connsiteX8" fmla="*/ 105342 w 939446"/>
                    <a:gd name="connsiteY8" fmla="*/ 35699 h 394303"/>
                    <a:gd name="connsiteX0" fmla="*/ 105342 w 930539"/>
                    <a:gd name="connsiteY0" fmla="*/ 35556 h 408015"/>
                    <a:gd name="connsiteX1" fmla="*/ 170841 w 930539"/>
                    <a:gd name="connsiteY1" fmla="*/ 37759 h 408015"/>
                    <a:gd name="connsiteX2" fmla="*/ 198550 w 930539"/>
                    <a:gd name="connsiteY2" fmla="*/ 363341 h 408015"/>
                    <a:gd name="connsiteX3" fmla="*/ 711168 w 930539"/>
                    <a:gd name="connsiteY3" fmla="*/ 30832 h 408015"/>
                    <a:gd name="connsiteX4" fmla="*/ 632488 w 930539"/>
                    <a:gd name="connsiteY4" fmla="*/ 354209 h 408015"/>
                    <a:gd name="connsiteX5" fmla="*/ 750253 w 930539"/>
                    <a:gd name="connsiteY5" fmla="*/ 408015 h 408015"/>
                    <a:gd name="connsiteX6" fmla="*/ 669603 w 930539"/>
                    <a:gd name="connsiteY6" fmla="*/ 3120 h 408015"/>
                    <a:gd name="connsiteX7" fmla="*/ 223105 w 930539"/>
                    <a:gd name="connsiteY7" fmla="*/ 352594 h 408015"/>
                    <a:gd name="connsiteX8" fmla="*/ 105342 w 930539"/>
                    <a:gd name="connsiteY8" fmla="*/ 35556 h 408015"/>
                    <a:gd name="connsiteX0" fmla="*/ 105342 w 930539"/>
                    <a:gd name="connsiteY0" fmla="*/ 35556 h 408015"/>
                    <a:gd name="connsiteX1" fmla="*/ 170841 w 930539"/>
                    <a:gd name="connsiteY1" fmla="*/ 37759 h 408015"/>
                    <a:gd name="connsiteX2" fmla="*/ 229723 w 930539"/>
                    <a:gd name="connsiteY2" fmla="*/ 318314 h 408015"/>
                    <a:gd name="connsiteX3" fmla="*/ 711168 w 930539"/>
                    <a:gd name="connsiteY3" fmla="*/ 30832 h 408015"/>
                    <a:gd name="connsiteX4" fmla="*/ 632488 w 930539"/>
                    <a:gd name="connsiteY4" fmla="*/ 354209 h 408015"/>
                    <a:gd name="connsiteX5" fmla="*/ 750253 w 930539"/>
                    <a:gd name="connsiteY5" fmla="*/ 408015 h 408015"/>
                    <a:gd name="connsiteX6" fmla="*/ 669603 w 930539"/>
                    <a:gd name="connsiteY6" fmla="*/ 3120 h 408015"/>
                    <a:gd name="connsiteX7" fmla="*/ 223105 w 930539"/>
                    <a:gd name="connsiteY7" fmla="*/ 352594 h 408015"/>
                    <a:gd name="connsiteX8" fmla="*/ 105342 w 930539"/>
                    <a:gd name="connsiteY8" fmla="*/ 35556 h 408015"/>
                    <a:gd name="connsiteX0" fmla="*/ 105342 w 930539"/>
                    <a:gd name="connsiteY0" fmla="*/ 35556 h 408015"/>
                    <a:gd name="connsiteX1" fmla="*/ 170841 w 930539"/>
                    <a:gd name="connsiteY1" fmla="*/ 37759 h 408015"/>
                    <a:gd name="connsiteX2" fmla="*/ 229723 w 930539"/>
                    <a:gd name="connsiteY2" fmla="*/ 318314 h 408015"/>
                    <a:gd name="connsiteX3" fmla="*/ 711168 w 930539"/>
                    <a:gd name="connsiteY3" fmla="*/ 30832 h 408015"/>
                    <a:gd name="connsiteX4" fmla="*/ 632488 w 930539"/>
                    <a:gd name="connsiteY4" fmla="*/ 354209 h 408015"/>
                    <a:gd name="connsiteX5" fmla="*/ 750253 w 930539"/>
                    <a:gd name="connsiteY5" fmla="*/ 408015 h 408015"/>
                    <a:gd name="connsiteX6" fmla="*/ 669603 w 930539"/>
                    <a:gd name="connsiteY6" fmla="*/ 3120 h 408015"/>
                    <a:gd name="connsiteX7" fmla="*/ 223105 w 930539"/>
                    <a:gd name="connsiteY7" fmla="*/ 345666 h 408015"/>
                    <a:gd name="connsiteX8" fmla="*/ 105342 w 930539"/>
                    <a:gd name="connsiteY8" fmla="*/ 35556 h 408015"/>
                    <a:gd name="connsiteX0" fmla="*/ 105342 w 930539"/>
                    <a:gd name="connsiteY0" fmla="*/ 35556 h 408015"/>
                    <a:gd name="connsiteX1" fmla="*/ 170841 w 930539"/>
                    <a:gd name="connsiteY1" fmla="*/ 37759 h 408015"/>
                    <a:gd name="connsiteX2" fmla="*/ 181232 w 930539"/>
                    <a:gd name="connsiteY2" fmla="*/ 352951 h 408015"/>
                    <a:gd name="connsiteX3" fmla="*/ 711168 w 930539"/>
                    <a:gd name="connsiteY3" fmla="*/ 30832 h 408015"/>
                    <a:gd name="connsiteX4" fmla="*/ 632488 w 930539"/>
                    <a:gd name="connsiteY4" fmla="*/ 354209 h 408015"/>
                    <a:gd name="connsiteX5" fmla="*/ 750253 w 930539"/>
                    <a:gd name="connsiteY5" fmla="*/ 408015 h 408015"/>
                    <a:gd name="connsiteX6" fmla="*/ 669603 w 930539"/>
                    <a:gd name="connsiteY6" fmla="*/ 3120 h 408015"/>
                    <a:gd name="connsiteX7" fmla="*/ 223105 w 930539"/>
                    <a:gd name="connsiteY7" fmla="*/ 345666 h 408015"/>
                    <a:gd name="connsiteX8" fmla="*/ 105342 w 930539"/>
                    <a:gd name="connsiteY8" fmla="*/ 35556 h 408015"/>
                    <a:gd name="connsiteX0" fmla="*/ 105342 w 930539"/>
                    <a:gd name="connsiteY0" fmla="*/ 35556 h 408015"/>
                    <a:gd name="connsiteX1" fmla="*/ 170841 w 930539"/>
                    <a:gd name="connsiteY1" fmla="*/ 37759 h 408015"/>
                    <a:gd name="connsiteX2" fmla="*/ 229723 w 930539"/>
                    <a:gd name="connsiteY2" fmla="*/ 370269 h 408015"/>
                    <a:gd name="connsiteX3" fmla="*/ 711168 w 930539"/>
                    <a:gd name="connsiteY3" fmla="*/ 30832 h 408015"/>
                    <a:gd name="connsiteX4" fmla="*/ 632488 w 930539"/>
                    <a:gd name="connsiteY4" fmla="*/ 354209 h 408015"/>
                    <a:gd name="connsiteX5" fmla="*/ 750253 w 930539"/>
                    <a:gd name="connsiteY5" fmla="*/ 408015 h 408015"/>
                    <a:gd name="connsiteX6" fmla="*/ 669603 w 930539"/>
                    <a:gd name="connsiteY6" fmla="*/ 3120 h 408015"/>
                    <a:gd name="connsiteX7" fmla="*/ 223105 w 930539"/>
                    <a:gd name="connsiteY7" fmla="*/ 345666 h 408015"/>
                    <a:gd name="connsiteX8" fmla="*/ 105342 w 930539"/>
                    <a:gd name="connsiteY8" fmla="*/ 35556 h 408015"/>
                    <a:gd name="connsiteX0" fmla="*/ 105342 w 930539"/>
                    <a:gd name="connsiteY0" fmla="*/ 35556 h 408015"/>
                    <a:gd name="connsiteX1" fmla="*/ 170841 w 930539"/>
                    <a:gd name="connsiteY1" fmla="*/ 37759 h 408015"/>
                    <a:gd name="connsiteX2" fmla="*/ 229723 w 930539"/>
                    <a:gd name="connsiteY2" fmla="*/ 370269 h 408015"/>
                    <a:gd name="connsiteX3" fmla="*/ 711168 w 930539"/>
                    <a:gd name="connsiteY3" fmla="*/ 30832 h 408015"/>
                    <a:gd name="connsiteX4" fmla="*/ 632488 w 930539"/>
                    <a:gd name="connsiteY4" fmla="*/ 354209 h 408015"/>
                    <a:gd name="connsiteX5" fmla="*/ 750253 w 930539"/>
                    <a:gd name="connsiteY5" fmla="*/ 408015 h 408015"/>
                    <a:gd name="connsiteX6" fmla="*/ 669603 w 930539"/>
                    <a:gd name="connsiteY6" fmla="*/ 3120 h 408015"/>
                    <a:gd name="connsiteX7" fmla="*/ 223105 w 930539"/>
                    <a:gd name="connsiteY7" fmla="*/ 345666 h 408015"/>
                    <a:gd name="connsiteX8" fmla="*/ 105342 w 930539"/>
                    <a:gd name="connsiteY8" fmla="*/ 35556 h 408015"/>
                    <a:gd name="connsiteX0" fmla="*/ 105342 w 930539"/>
                    <a:gd name="connsiteY0" fmla="*/ 35556 h 408015"/>
                    <a:gd name="connsiteX1" fmla="*/ 170841 w 930539"/>
                    <a:gd name="connsiteY1" fmla="*/ 37759 h 408015"/>
                    <a:gd name="connsiteX2" fmla="*/ 229723 w 930539"/>
                    <a:gd name="connsiteY2" fmla="*/ 370269 h 408015"/>
                    <a:gd name="connsiteX3" fmla="*/ 711168 w 930539"/>
                    <a:gd name="connsiteY3" fmla="*/ 30832 h 408015"/>
                    <a:gd name="connsiteX4" fmla="*/ 632488 w 930539"/>
                    <a:gd name="connsiteY4" fmla="*/ 354209 h 408015"/>
                    <a:gd name="connsiteX5" fmla="*/ 750253 w 930539"/>
                    <a:gd name="connsiteY5" fmla="*/ 408015 h 408015"/>
                    <a:gd name="connsiteX6" fmla="*/ 669603 w 930539"/>
                    <a:gd name="connsiteY6" fmla="*/ 3120 h 408015"/>
                    <a:gd name="connsiteX7" fmla="*/ 223105 w 930539"/>
                    <a:gd name="connsiteY7" fmla="*/ 345666 h 408015"/>
                    <a:gd name="connsiteX8" fmla="*/ 105342 w 930539"/>
                    <a:gd name="connsiteY8" fmla="*/ 35556 h 408015"/>
                    <a:gd name="connsiteX0" fmla="*/ 105342 w 930539"/>
                    <a:gd name="connsiteY0" fmla="*/ 35556 h 408015"/>
                    <a:gd name="connsiteX1" fmla="*/ 170841 w 930539"/>
                    <a:gd name="connsiteY1" fmla="*/ 37759 h 408015"/>
                    <a:gd name="connsiteX2" fmla="*/ 229723 w 930539"/>
                    <a:gd name="connsiteY2" fmla="*/ 370269 h 408015"/>
                    <a:gd name="connsiteX3" fmla="*/ 711168 w 930539"/>
                    <a:gd name="connsiteY3" fmla="*/ 30832 h 408015"/>
                    <a:gd name="connsiteX4" fmla="*/ 632488 w 930539"/>
                    <a:gd name="connsiteY4" fmla="*/ 354209 h 408015"/>
                    <a:gd name="connsiteX5" fmla="*/ 750253 w 930539"/>
                    <a:gd name="connsiteY5" fmla="*/ 408015 h 408015"/>
                    <a:gd name="connsiteX6" fmla="*/ 669603 w 930539"/>
                    <a:gd name="connsiteY6" fmla="*/ 3120 h 408015"/>
                    <a:gd name="connsiteX7" fmla="*/ 223105 w 930539"/>
                    <a:gd name="connsiteY7" fmla="*/ 345666 h 408015"/>
                    <a:gd name="connsiteX8" fmla="*/ 105342 w 930539"/>
                    <a:gd name="connsiteY8" fmla="*/ 35556 h 408015"/>
                    <a:gd name="connsiteX0" fmla="*/ 111595 w 936792"/>
                    <a:gd name="connsiteY0" fmla="*/ 35556 h 408015"/>
                    <a:gd name="connsiteX1" fmla="*/ 177094 w 936792"/>
                    <a:gd name="connsiteY1" fmla="*/ 37759 h 408015"/>
                    <a:gd name="connsiteX2" fmla="*/ 235976 w 936792"/>
                    <a:gd name="connsiteY2" fmla="*/ 370269 h 408015"/>
                    <a:gd name="connsiteX3" fmla="*/ 717421 w 936792"/>
                    <a:gd name="connsiteY3" fmla="*/ 30832 h 408015"/>
                    <a:gd name="connsiteX4" fmla="*/ 638741 w 936792"/>
                    <a:gd name="connsiteY4" fmla="*/ 354209 h 408015"/>
                    <a:gd name="connsiteX5" fmla="*/ 756506 w 936792"/>
                    <a:gd name="connsiteY5" fmla="*/ 408015 h 408015"/>
                    <a:gd name="connsiteX6" fmla="*/ 675856 w 936792"/>
                    <a:gd name="connsiteY6" fmla="*/ 3120 h 408015"/>
                    <a:gd name="connsiteX7" fmla="*/ 212040 w 936792"/>
                    <a:gd name="connsiteY7" fmla="*/ 373375 h 408015"/>
                    <a:gd name="connsiteX8" fmla="*/ 111595 w 936792"/>
                    <a:gd name="connsiteY8" fmla="*/ 35556 h 408015"/>
                    <a:gd name="connsiteX0" fmla="*/ 104452 w 929649"/>
                    <a:gd name="connsiteY0" fmla="*/ 35556 h 408015"/>
                    <a:gd name="connsiteX1" fmla="*/ 169951 w 929649"/>
                    <a:gd name="connsiteY1" fmla="*/ 37759 h 408015"/>
                    <a:gd name="connsiteX2" fmla="*/ 228833 w 929649"/>
                    <a:gd name="connsiteY2" fmla="*/ 370269 h 408015"/>
                    <a:gd name="connsiteX3" fmla="*/ 710278 w 929649"/>
                    <a:gd name="connsiteY3" fmla="*/ 30832 h 408015"/>
                    <a:gd name="connsiteX4" fmla="*/ 631598 w 929649"/>
                    <a:gd name="connsiteY4" fmla="*/ 354209 h 408015"/>
                    <a:gd name="connsiteX5" fmla="*/ 749363 w 929649"/>
                    <a:gd name="connsiteY5" fmla="*/ 408015 h 408015"/>
                    <a:gd name="connsiteX6" fmla="*/ 668713 w 929649"/>
                    <a:gd name="connsiteY6" fmla="*/ 3120 h 408015"/>
                    <a:gd name="connsiteX7" fmla="*/ 204897 w 929649"/>
                    <a:gd name="connsiteY7" fmla="*/ 373375 h 408015"/>
                    <a:gd name="connsiteX8" fmla="*/ 104452 w 929649"/>
                    <a:gd name="connsiteY8" fmla="*/ 35556 h 408015"/>
                    <a:gd name="connsiteX0" fmla="*/ 110549 w 935746"/>
                    <a:gd name="connsiteY0" fmla="*/ 35556 h 408015"/>
                    <a:gd name="connsiteX1" fmla="*/ 176048 w 935746"/>
                    <a:gd name="connsiteY1" fmla="*/ 37759 h 408015"/>
                    <a:gd name="connsiteX2" fmla="*/ 234930 w 935746"/>
                    <a:gd name="connsiteY2" fmla="*/ 370269 h 408015"/>
                    <a:gd name="connsiteX3" fmla="*/ 716375 w 935746"/>
                    <a:gd name="connsiteY3" fmla="*/ 3083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76048 w 935746"/>
                    <a:gd name="connsiteY1" fmla="*/ 37759 h 408015"/>
                    <a:gd name="connsiteX2" fmla="*/ 234930 w 935746"/>
                    <a:gd name="connsiteY2" fmla="*/ 370269 h 408015"/>
                    <a:gd name="connsiteX3" fmla="*/ 716375 w 935746"/>
                    <a:gd name="connsiteY3" fmla="*/ 3083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76048 w 935746"/>
                    <a:gd name="connsiteY1" fmla="*/ 37759 h 408015"/>
                    <a:gd name="connsiteX2" fmla="*/ 234930 w 935746"/>
                    <a:gd name="connsiteY2" fmla="*/ 370269 h 408015"/>
                    <a:gd name="connsiteX3" fmla="*/ 719839 w 935746"/>
                    <a:gd name="connsiteY3" fmla="*/ 312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48339 w 935746"/>
                    <a:gd name="connsiteY1" fmla="*/ 65468 h 408015"/>
                    <a:gd name="connsiteX2" fmla="*/ 234930 w 935746"/>
                    <a:gd name="connsiteY2" fmla="*/ 370269 h 408015"/>
                    <a:gd name="connsiteX3" fmla="*/ 719839 w 935746"/>
                    <a:gd name="connsiteY3" fmla="*/ 312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48339 w 935746"/>
                    <a:gd name="connsiteY1" fmla="*/ 65468 h 408015"/>
                    <a:gd name="connsiteX2" fmla="*/ 234930 w 935746"/>
                    <a:gd name="connsiteY2" fmla="*/ 370269 h 408015"/>
                    <a:gd name="connsiteX3" fmla="*/ 719839 w 935746"/>
                    <a:gd name="connsiteY3" fmla="*/ 312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48339 w 935746"/>
                    <a:gd name="connsiteY1" fmla="*/ 65468 h 408015"/>
                    <a:gd name="connsiteX2" fmla="*/ 234930 w 935746"/>
                    <a:gd name="connsiteY2" fmla="*/ 370269 h 408015"/>
                    <a:gd name="connsiteX3" fmla="*/ 719839 w 935746"/>
                    <a:gd name="connsiteY3" fmla="*/ 312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48339 w 935746"/>
                    <a:gd name="connsiteY1" fmla="*/ 65468 h 408015"/>
                    <a:gd name="connsiteX2" fmla="*/ 234930 w 935746"/>
                    <a:gd name="connsiteY2" fmla="*/ 370269 h 408015"/>
                    <a:gd name="connsiteX3" fmla="*/ 719839 w 935746"/>
                    <a:gd name="connsiteY3" fmla="*/ 312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48339 w 935746"/>
                    <a:gd name="connsiteY1" fmla="*/ 65468 h 408015"/>
                    <a:gd name="connsiteX2" fmla="*/ 234930 w 935746"/>
                    <a:gd name="connsiteY2" fmla="*/ 370269 h 408015"/>
                    <a:gd name="connsiteX3" fmla="*/ 719839 w 935746"/>
                    <a:gd name="connsiteY3" fmla="*/ 312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48339 w 935746"/>
                    <a:gd name="connsiteY1" fmla="*/ 65468 h 408015"/>
                    <a:gd name="connsiteX2" fmla="*/ 234930 w 935746"/>
                    <a:gd name="connsiteY2" fmla="*/ 370269 h 408015"/>
                    <a:gd name="connsiteX3" fmla="*/ 719839 w 935746"/>
                    <a:gd name="connsiteY3" fmla="*/ 312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31020 w 935746"/>
                    <a:gd name="connsiteY1" fmla="*/ 79322 h 408015"/>
                    <a:gd name="connsiteX2" fmla="*/ 234930 w 935746"/>
                    <a:gd name="connsiteY2" fmla="*/ 370269 h 408015"/>
                    <a:gd name="connsiteX3" fmla="*/ 719839 w 935746"/>
                    <a:gd name="connsiteY3" fmla="*/ 312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72992 w 912044"/>
                    <a:gd name="connsiteY0" fmla="*/ 35556 h 408015"/>
                    <a:gd name="connsiteX1" fmla="*/ 107318 w 912044"/>
                    <a:gd name="connsiteY1" fmla="*/ 79322 h 408015"/>
                    <a:gd name="connsiteX2" fmla="*/ 211228 w 912044"/>
                    <a:gd name="connsiteY2" fmla="*/ 370269 h 408015"/>
                    <a:gd name="connsiteX3" fmla="*/ 696137 w 912044"/>
                    <a:gd name="connsiteY3" fmla="*/ 3122 h 408015"/>
                    <a:gd name="connsiteX4" fmla="*/ 613993 w 912044"/>
                    <a:gd name="connsiteY4" fmla="*/ 354209 h 408015"/>
                    <a:gd name="connsiteX5" fmla="*/ 731758 w 912044"/>
                    <a:gd name="connsiteY5" fmla="*/ 408015 h 408015"/>
                    <a:gd name="connsiteX6" fmla="*/ 651108 w 912044"/>
                    <a:gd name="connsiteY6" fmla="*/ 3120 h 408015"/>
                    <a:gd name="connsiteX7" fmla="*/ 187292 w 912044"/>
                    <a:gd name="connsiteY7" fmla="*/ 373375 h 408015"/>
                    <a:gd name="connsiteX8" fmla="*/ 72992 w 912044"/>
                    <a:gd name="connsiteY8" fmla="*/ 35556 h 408015"/>
                    <a:gd name="connsiteX0" fmla="*/ 95861 w 934913"/>
                    <a:gd name="connsiteY0" fmla="*/ 35556 h 408015"/>
                    <a:gd name="connsiteX1" fmla="*/ 130187 w 934913"/>
                    <a:gd name="connsiteY1" fmla="*/ 79322 h 408015"/>
                    <a:gd name="connsiteX2" fmla="*/ 234097 w 934913"/>
                    <a:gd name="connsiteY2" fmla="*/ 370269 h 408015"/>
                    <a:gd name="connsiteX3" fmla="*/ 719006 w 934913"/>
                    <a:gd name="connsiteY3" fmla="*/ 3122 h 408015"/>
                    <a:gd name="connsiteX4" fmla="*/ 636862 w 934913"/>
                    <a:gd name="connsiteY4" fmla="*/ 354209 h 408015"/>
                    <a:gd name="connsiteX5" fmla="*/ 754627 w 934913"/>
                    <a:gd name="connsiteY5" fmla="*/ 408015 h 408015"/>
                    <a:gd name="connsiteX6" fmla="*/ 673977 w 934913"/>
                    <a:gd name="connsiteY6" fmla="*/ 3120 h 408015"/>
                    <a:gd name="connsiteX7" fmla="*/ 210161 w 934913"/>
                    <a:gd name="connsiteY7" fmla="*/ 373375 h 408015"/>
                    <a:gd name="connsiteX8" fmla="*/ 95861 w 934913"/>
                    <a:gd name="connsiteY8" fmla="*/ 35556 h 408015"/>
                    <a:gd name="connsiteX0" fmla="*/ 128786 w 967838"/>
                    <a:gd name="connsiteY0" fmla="*/ 35556 h 408015"/>
                    <a:gd name="connsiteX1" fmla="*/ 163112 w 967838"/>
                    <a:gd name="connsiteY1" fmla="*/ 79322 h 408015"/>
                    <a:gd name="connsiteX2" fmla="*/ 267022 w 967838"/>
                    <a:gd name="connsiteY2" fmla="*/ 370269 h 408015"/>
                    <a:gd name="connsiteX3" fmla="*/ 751931 w 967838"/>
                    <a:gd name="connsiteY3" fmla="*/ 3122 h 408015"/>
                    <a:gd name="connsiteX4" fmla="*/ 669787 w 967838"/>
                    <a:gd name="connsiteY4" fmla="*/ 354209 h 408015"/>
                    <a:gd name="connsiteX5" fmla="*/ 787552 w 967838"/>
                    <a:gd name="connsiteY5" fmla="*/ 408015 h 408015"/>
                    <a:gd name="connsiteX6" fmla="*/ 706902 w 967838"/>
                    <a:gd name="connsiteY6" fmla="*/ 3120 h 408015"/>
                    <a:gd name="connsiteX7" fmla="*/ 243086 w 967838"/>
                    <a:gd name="connsiteY7" fmla="*/ 373375 h 408015"/>
                    <a:gd name="connsiteX8" fmla="*/ 128786 w 967838"/>
                    <a:gd name="connsiteY8" fmla="*/ 35556 h 408015"/>
                    <a:gd name="connsiteX0" fmla="*/ 100245 w 939297"/>
                    <a:gd name="connsiteY0" fmla="*/ 35556 h 408015"/>
                    <a:gd name="connsiteX1" fmla="*/ 134571 w 939297"/>
                    <a:gd name="connsiteY1" fmla="*/ 79322 h 408015"/>
                    <a:gd name="connsiteX2" fmla="*/ 238481 w 939297"/>
                    <a:gd name="connsiteY2" fmla="*/ 370269 h 408015"/>
                    <a:gd name="connsiteX3" fmla="*/ 723390 w 939297"/>
                    <a:gd name="connsiteY3" fmla="*/ 3122 h 408015"/>
                    <a:gd name="connsiteX4" fmla="*/ 641246 w 939297"/>
                    <a:gd name="connsiteY4" fmla="*/ 354209 h 408015"/>
                    <a:gd name="connsiteX5" fmla="*/ 759011 w 939297"/>
                    <a:gd name="connsiteY5" fmla="*/ 408015 h 408015"/>
                    <a:gd name="connsiteX6" fmla="*/ 678361 w 939297"/>
                    <a:gd name="connsiteY6" fmla="*/ 3120 h 408015"/>
                    <a:gd name="connsiteX7" fmla="*/ 214545 w 939297"/>
                    <a:gd name="connsiteY7" fmla="*/ 373375 h 408015"/>
                    <a:gd name="connsiteX8" fmla="*/ 100245 w 939297"/>
                    <a:gd name="connsiteY8" fmla="*/ 35556 h 408015"/>
                    <a:gd name="connsiteX0" fmla="*/ 100245 w 939297"/>
                    <a:gd name="connsiteY0" fmla="*/ 35556 h 408015"/>
                    <a:gd name="connsiteX1" fmla="*/ 106862 w 939297"/>
                    <a:gd name="connsiteY1" fmla="*/ 51613 h 408015"/>
                    <a:gd name="connsiteX2" fmla="*/ 238481 w 939297"/>
                    <a:gd name="connsiteY2" fmla="*/ 370269 h 408015"/>
                    <a:gd name="connsiteX3" fmla="*/ 723390 w 939297"/>
                    <a:gd name="connsiteY3" fmla="*/ 3122 h 408015"/>
                    <a:gd name="connsiteX4" fmla="*/ 641246 w 939297"/>
                    <a:gd name="connsiteY4" fmla="*/ 354209 h 408015"/>
                    <a:gd name="connsiteX5" fmla="*/ 759011 w 939297"/>
                    <a:gd name="connsiteY5" fmla="*/ 408015 h 408015"/>
                    <a:gd name="connsiteX6" fmla="*/ 678361 w 939297"/>
                    <a:gd name="connsiteY6" fmla="*/ 3120 h 408015"/>
                    <a:gd name="connsiteX7" fmla="*/ 214545 w 939297"/>
                    <a:gd name="connsiteY7" fmla="*/ 373375 h 408015"/>
                    <a:gd name="connsiteX8" fmla="*/ 100245 w 939297"/>
                    <a:gd name="connsiteY8" fmla="*/ 35556 h 408015"/>
                    <a:gd name="connsiteX0" fmla="*/ 100245 w 939297"/>
                    <a:gd name="connsiteY0" fmla="*/ 35556 h 408015"/>
                    <a:gd name="connsiteX1" fmla="*/ 106862 w 939297"/>
                    <a:gd name="connsiteY1" fmla="*/ 51613 h 408015"/>
                    <a:gd name="connsiteX2" fmla="*/ 238481 w 939297"/>
                    <a:gd name="connsiteY2" fmla="*/ 370269 h 408015"/>
                    <a:gd name="connsiteX3" fmla="*/ 723390 w 939297"/>
                    <a:gd name="connsiteY3" fmla="*/ 3122 h 408015"/>
                    <a:gd name="connsiteX4" fmla="*/ 641246 w 939297"/>
                    <a:gd name="connsiteY4" fmla="*/ 354209 h 408015"/>
                    <a:gd name="connsiteX5" fmla="*/ 759011 w 939297"/>
                    <a:gd name="connsiteY5" fmla="*/ 408015 h 408015"/>
                    <a:gd name="connsiteX6" fmla="*/ 678361 w 939297"/>
                    <a:gd name="connsiteY6" fmla="*/ 3120 h 408015"/>
                    <a:gd name="connsiteX7" fmla="*/ 214545 w 939297"/>
                    <a:gd name="connsiteY7" fmla="*/ 373375 h 408015"/>
                    <a:gd name="connsiteX8" fmla="*/ 100245 w 939297"/>
                    <a:gd name="connsiteY8" fmla="*/ 35556 h 408015"/>
                    <a:gd name="connsiteX0" fmla="*/ 100245 w 939297"/>
                    <a:gd name="connsiteY0" fmla="*/ 35556 h 408015"/>
                    <a:gd name="connsiteX1" fmla="*/ 106862 w 939297"/>
                    <a:gd name="connsiteY1" fmla="*/ 51613 h 408015"/>
                    <a:gd name="connsiteX2" fmla="*/ 238481 w 939297"/>
                    <a:gd name="connsiteY2" fmla="*/ 370269 h 408015"/>
                    <a:gd name="connsiteX3" fmla="*/ 723390 w 939297"/>
                    <a:gd name="connsiteY3" fmla="*/ 3122 h 408015"/>
                    <a:gd name="connsiteX4" fmla="*/ 641246 w 939297"/>
                    <a:gd name="connsiteY4" fmla="*/ 354209 h 408015"/>
                    <a:gd name="connsiteX5" fmla="*/ 759011 w 939297"/>
                    <a:gd name="connsiteY5" fmla="*/ 408015 h 408015"/>
                    <a:gd name="connsiteX6" fmla="*/ 678361 w 939297"/>
                    <a:gd name="connsiteY6" fmla="*/ 3120 h 408015"/>
                    <a:gd name="connsiteX7" fmla="*/ 214545 w 939297"/>
                    <a:gd name="connsiteY7" fmla="*/ 373375 h 408015"/>
                    <a:gd name="connsiteX8" fmla="*/ 100245 w 939297"/>
                    <a:gd name="connsiteY8" fmla="*/ 35556 h 408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39297" h="408015">
                      <a:moveTo>
                        <a:pt x="100245" y="35556"/>
                      </a:moveTo>
                      <a:cubicBezTo>
                        <a:pt x="114625" y="43120"/>
                        <a:pt x="70545" y="31618"/>
                        <a:pt x="106862" y="51613"/>
                      </a:cubicBezTo>
                      <a:cubicBezTo>
                        <a:pt x="-33466" y="158199"/>
                        <a:pt x="88391" y="327552"/>
                        <a:pt x="238481" y="370269"/>
                      </a:cubicBezTo>
                      <a:cubicBezTo>
                        <a:pt x="557663" y="393728"/>
                        <a:pt x="507902" y="68144"/>
                        <a:pt x="723390" y="3122"/>
                      </a:cubicBezTo>
                      <a:cubicBezTo>
                        <a:pt x="925763" y="76277"/>
                        <a:pt x="764454" y="315691"/>
                        <a:pt x="641246" y="354209"/>
                      </a:cubicBezTo>
                      <a:lnTo>
                        <a:pt x="759011" y="408015"/>
                      </a:lnTo>
                      <a:cubicBezTo>
                        <a:pt x="1071565" y="249959"/>
                        <a:pt x="933843" y="-32788"/>
                        <a:pt x="678361" y="3120"/>
                      </a:cubicBezTo>
                      <a:cubicBezTo>
                        <a:pt x="352883" y="45721"/>
                        <a:pt x="452907" y="357578"/>
                        <a:pt x="214545" y="373375"/>
                      </a:cubicBezTo>
                      <a:cubicBezTo>
                        <a:pt x="-23817" y="389172"/>
                        <a:pt x="-66009" y="91589"/>
                        <a:pt x="100245" y="35556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70C0"/>
                    </a:gs>
                    <a:gs pos="9000">
                      <a:srgbClr val="29C7FF"/>
                    </a:gs>
                    <a:gs pos="51000">
                      <a:srgbClr val="33CAFF"/>
                    </a:gs>
                    <a:gs pos="32000">
                      <a:srgbClr val="0070C0"/>
                    </a:gs>
                    <a:gs pos="97000">
                      <a:srgbClr val="005EA4"/>
                    </a:gs>
                    <a:gs pos="89000">
                      <a:srgbClr val="0070C0"/>
                    </a:gs>
                  </a:gsLst>
                  <a:lin ang="0" scaled="1"/>
                  <a:tileRect/>
                </a:gradFill>
                <a:ln w="6350" cap="flat" cmpd="sng" algn="ctr">
                  <a:solidFill>
                    <a:srgbClr val="1C2638">
                      <a:lumMod val="75000"/>
                      <a:lumOff val="25000"/>
                      <a:alpha val="77000"/>
                    </a:srgbClr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Ovaal 112"/>
                <p:cNvSpPr/>
                <p:nvPr userDrawn="1"/>
              </p:nvSpPr>
              <p:spPr>
                <a:xfrm flipV="1">
                  <a:off x="11012327" y="2951356"/>
                  <a:ext cx="45720" cy="45720"/>
                </a:xfrm>
                <a:prstGeom prst="ellipse">
                  <a:avLst/>
                </a:prstGeom>
                <a:solidFill>
                  <a:srgbClr val="1D1D1B">
                    <a:lumMod val="50000"/>
                    <a:lumOff val="50000"/>
                    <a:alpha val="99000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88" name="bijsnijden"/>
            <p:cNvGrpSpPr/>
            <p:nvPr userDrawn="1"/>
          </p:nvGrpSpPr>
          <p:grpSpPr>
            <a:xfrm>
              <a:off x="12727582" y="5853402"/>
              <a:ext cx="779464" cy="828260"/>
              <a:chOff x="13143038" y="5655940"/>
              <a:chExt cx="779464" cy="828260"/>
            </a:xfrm>
          </p:grpSpPr>
          <p:grpSp>
            <p:nvGrpSpPr>
              <p:cNvPr id="89" name="Groep 88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92" name="Rechthoek 91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93" name="Afbeelding 92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94" name="L-vorm 93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95" name="L-vorm 94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90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 dirty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91" name="Rechthoekige driehoek 90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 dirty="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5656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 dirty="0"/>
              <a:t>Tabel (100%)</a:t>
            </a:r>
            <a:endParaRPr lang="nl-NL" dirty="0"/>
          </a:p>
        </p:txBody>
      </p:sp>
      <p:sp>
        <p:nvSpPr>
          <p:cNvPr id="86" name="Tijdelijke aanduiding voor tabel 13"/>
          <p:cNvSpPr>
            <a:spLocks noGrp="1"/>
          </p:cNvSpPr>
          <p:nvPr>
            <p:ph type="tbl" sz="quarter" idx="15"/>
          </p:nvPr>
        </p:nvSpPr>
        <p:spPr>
          <a:xfrm>
            <a:off x="458926" y="1092201"/>
            <a:ext cx="11275200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r>
              <a:rPr lang="en-US" smtClean="0"/>
              <a:t>Click icon to add table</a:t>
            </a:r>
            <a:endParaRPr lang="nl-NL"/>
          </a:p>
        </p:txBody>
      </p:sp>
      <p:grpSp>
        <p:nvGrpSpPr>
          <p:cNvPr id="87" name="Groep 86"/>
          <p:cNvGrpSpPr/>
          <p:nvPr userDrawn="1"/>
        </p:nvGrpSpPr>
        <p:grpSpPr>
          <a:xfrm>
            <a:off x="12850330" y="21157"/>
            <a:ext cx="2609094" cy="4339920"/>
            <a:chOff x="12470972" y="-5444"/>
            <a:chExt cx="2609094" cy="4339920"/>
          </a:xfrm>
        </p:grpSpPr>
        <p:grpSp>
          <p:nvGrpSpPr>
            <p:cNvPr id="88" name="Groep 87"/>
            <p:cNvGrpSpPr/>
            <p:nvPr/>
          </p:nvGrpSpPr>
          <p:grpSpPr>
            <a:xfrm>
              <a:off x="12478620" y="1489205"/>
              <a:ext cx="615489" cy="522454"/>
              <a:chOff x="3793456" y="3603"/>
              <a:chExt cx="4527394" cy="473968"/>
            </a:xfrm>
          </p:grpSpPr>
          <p:grpSp>
            <p:nvGrpSpPr>
              <p:cNvPr id="102" name="Group 4"/>
              <p:cNvGrpSpPr>
                <a:grpSpLocks noChangeAspect="1"/>
              </p:cNvGrpSpPr>
              <p:nvPr userDrawn="1"/>
            </p:nvGrpSpPr>
            <p:grpSpPr bwMode="auto">
              <a:xfrm>
                <a:off x="3793456" y="3603"/>
                <a:ext cx="4526989" cy="473968"/>
                <a:chOff x="1782" y="145"/>
                <a:chExt cx="2674" cy="2270"/>
              </a:xfrm>
            </p:grpSpPr>
            <p:sp>
              <p:nvSpPr>
                <p:cNvPr id="109" name="Rectangle 6"/>
                <p:cNvSpPr>
                  <a:spLocks noChangeArrowheads="1"/>
                </p:cNvSpPr>
                <p:nvPr userDrawn="1"/>
              </p:nvSpPr>
              <p:spPr bwMode="auto">
                <a:xfrm>
                  <a:off x="1807" y="145"/>
                  <a:ext cx="2649" cy="2270"/>
                </a:xfrm>
                <a:prstGeom prst="rect">
                  <a:avLst/>
                </a:prstGeom>
                <a:solidFill>
                  <a:srgbClr val="F2FAFF"/>
                </a:solidFill>
                <a:ln w="0">
                  <a:solidFill>
                    <a:srgbClr val="96969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+mj-lt"/>
                  </a:endParaRPr>
                </a:p>
              </p:txBody>
            </p:sp>
            <p:sp>
              <p:nvSpPr>
                <p:cNvPr id="110" name="Rectangle 13"/>
                <p:cNvSpPr>
                  <a:spLocks noChangeArrowheads="1"/>
                </p:cNvSpPr>
                <p:nvPr userDrawn="1"/>
              </p:nvSpPr>
              <p:spPr bwMode="auto">
                <a:xfrm>
                  <a:off x="1799" y="145"/>
                  <a:ext cx="2657" cy="439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0099FF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+mj-lt"/>
                  </a:endParaRPr>
                </a:p>
              </p:txBody>
            </p:sp>
            <p:sp>
              <p:nvSpPr>
                <p:cNvPr id="111" name="Rectangle 15"/>
                <p:cNvSpPr>
                  <a:spLocks noChangeArrowheads="1"/>
                </p:cNvSpPr>
                <p:nvPr userDrawn="1"/>
              </p:nvSpPr>
              <p:spPr bwMode="auto">
                <a:xfrm>
                  <a:off x="1782" y="1469"/>
                  <a:ext cx="2655" cy="29"/>
                </a:xfrm>
                <a:prstGeom prst="rect">
                  <a:avLst/>
                </a:prstGeom>
                <a:gradFill flip="none" rotWithShape="1">
                  <a:gsLst>
                    <a:gs pos="20000">
                      <a:srgbClr val="0039AC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+mj-lt"/>
                  </a:endParaRPr>
                </a:p>
              </p:txBody>
            </p:sp>
          </p:grpSp>
          <p:cxnSp>
            <p:nvCxnSpPr>
              <p:cNvPr id="103" name="Rechte verbindingslijn 102"/>
              <p:cNvCxnSpPr/>
              <p:nvPr userDrawn="1"/>
            </p:nvCxnSpPr>
            <p:spPr>
              <a:xfrm flipH="1">
                <a:off x="6086136" y="96647"/>
                <a:ext cx="6024" cy="380674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Rechte verbindingslijn 103"/>
              <p:cNvCxnSpPr/>
              <p:nvPr userDrawn="1"/>
            </p:nvCxnSpPr>
            <p:spPr>
              <a:xfrm>
                <a:off x="7281567" y="96647"/>
                <a:ext cx="0" cy="380674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Rechte verbindingslijn 104"/>
              <p:cNvCxnSpPr/>
              <p:nvPr userDrawn="1"/>
            </p:nvCxnSpPr>
            <p:spPr>
              <a:xfrm>
                <a:off x="4905299" y="96186"/>
                <a:ext cx="0" cy="377505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Rechte verbindingslijn 105"/>
              <p:cNvCxnSpPr/>
              <p:nvPr userDrawn="1"/>
            </p:nvCxnSpPr>
            <p:spPr>
              <a:xfrm flipH="1">
                <a:off x="3836186" y="181242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Rechte verbindingslijn 106"/>
              <p:cNvCxnSpPr/>
              <p:nvPr userDrawn="1"/>
            </p:nvCxnSpPr>
            <p:spPr>
              <a:xfrm flipH="1">
                <a:off x="3836186" y="280466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Rechte verbindingslijn 107"/>
              <p:cNvCxnSpPr/>
              <p:nvPr userDrawn="1"/>
            </p:nvCxnSpPr>
            <p:spPr>
              <a:xfrm flipH="1">
                <a:off x="3836186" y="392407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9" name="Rechthoek 88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TABEL INVOEGEN</a:t>
              </a:r>
            </a:p>
          </p:txBody>
        </p:sp>
        <p:sp>
          <p:nvSpPr>
            <p:cNvPr id="90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Klik op het icoon om een tabel </a:t>
              </a:r>
              <a:b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n te voegen</a:t>
              </a:r>
            </a:p>
          </p:txBody>
        </p:sp>
        <p:sp>
          <p:nvSpPr>
            <p:cNvPr id="91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eer het aantal rijen en kolommen en klik op </a:t>
              </a:r>
              <a:r>
                <a:rPr lang="nl-NL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OK’</a:t>
              </a:r>
            </a:p>
          </p:txBody>
        </p:sp>
        <p:sp>
          <p:nvSpPr>
            <p:cNvPr id="92" name="Ovaal 91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93" name="Ovaal 92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94" name="Rechte verbindingslijn 93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5" name="Rechte verbindingslijn 94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6" name="Rechte verbindingslijn 95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7" name="Groep 96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98" name="Afgeronde rechthoek 97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/>
              </a:p>
            </p:txBody>
          </p:sp>
          <p:sp>
            <p:nvSpPr>
              <p:cNvPr id="99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 dirty="0"/>
                  <a:t>OK</a:t>
                </a:r>
              </a:p>
            </p:txBody>
          </p:sp>
          <p:cxnSp>
            <p:nvCxnSpPr>
              <p:cNvPr id="100" name="Rechte verbindingslijn 99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1" name="Gelijkbenige driehoek 100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21144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ek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 dirty="0"/>
              <a:t>Grafiek (100%)</a:t>
            </a:r>
            <a:endParaRPr lang="nl-NL" dirty="0"/>
          </a:p>
        </p:txBody>
      </p:sp>
      <p:sp>
        <p:nvSpPr>
          <p:cNvPr id="85" name="Tijdelijke aanduiding voor grafiek 13"/>
          <p:cNvSpPr>
            <a:spLocks noGrp="1"/>
          </p:cNvSpPr>
          <p:nvPr>
            <p:ph type="chart" sz="quarter" idx="16"/>
          </p:nvPr>
        </p:nvSpPr>
        <p:spPr>
          <a:xfrm>
            <a:off x="458926" y="1092201"/>
            <a:ext cx="11275200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r>
              <a:rPr lang="en-US" smtClean="0"/>
              <a:t>Click icon to add chart</a:t>
            </a:r>
            <a:endParaRPr lang="nl-NL"/>
          </a:p>
        </p:txBody>
      </p:sp>
      <p:grpSp>
        <p:nvGrpSpPr>
          <p:cNvPr id="87" name="Groep 86"/>
          <p:cNvGrpSpPr/>
          <p:nvPr userDrawn="1"/>
        </p:nvGrpSpPr>
        <p:grpSpPr>
          <a:xfrm>
            <a:off x="12764736" y="19956"/>
            <a:ext cx="2697278" cy="6868888"/>
            <a:chOff x="12382788" y="-5444"/>
            <a:chExt cx="2697278" cy="6868888"/>
          </a:xfrm>
        </p:grpSpPr>
        <p:grpSp>
          <p:nvGrpSpPr>
            <p:cNvPr id="88" name="Groep 87"/>
            <p:cNvGrpSpPr/>
            <p:nvPr/>
          </p:nvGrpSpPr>
          <p:grpSpPr>
            <a:xfrm>
              <a:off x="12382788" y="1480224"/>
              <a:ext cx="689983" cy="573048"/>
              <a:chOff x="15171969" y="1587338"/>
              <a:chExt cx="755407" cy="627385"/>
            </a:xfrm>
          </p:grpSpPr>
          <p:sp>
            <p:nvSpPr>
              <p:cNvPr id="142" name="Rechthoek 962"/>
              <p:cNvSpPr/>
              <p:nvPr userDrawn="1"/>
            </p:nvSpPr>
            <p:spPr>
              <a:xfrm>
                <a:off x="15171969" y="2008934"/>
                <a:ext cx="755407" cy="205789"/>
              </a:xfrm>
              <a:custGeom>
                <a:avLst/>
                <a:gdLst>
                  <a:gd name="connsiteX0" fmla="*/ 0 w 664132"/>
                  <a:gd name="connsiteY0" fmla="*/ 0 h 277787"/>
                  <a:gd name="connsiteX1" fmla="*/ 664132 w 664132"/>
                  <a:gd name="connsiteY1" fmla="*/ 0 h 277787"/>
                  <a:gd name="connsiteX2" fmla="*/ 664132 w 664132"/>
                  <a:gd name="connsiteY2" fmla="*/ 277787 h 277787"/>
                  <a:gd name="connsiteX3" fmla="*/ 0 w 664132"/>
                  <a:gd name="connsiteY3" fmla="*/ 277787 h 277787"/>
                  <a:gd name="connsiteX4" fmla="*/ 0 w 664132"/>
                  <a:gd name="connsiteY4" fmla="*/ 0 h 277787"/>
                  <a:gd name="connsiteX0" fmla="*/ 0 w 664132"/>
                  <a:gd name="connsiteY0" fmla="*/ 0 h 290487"/>
                  <a:gd name="connsiteX1" fmla="*/ 664132 w 664132"/>
                  <a:gd name="connsiteY1" fmla="*/ 0 h 290487"/>
                  <a:gd name="connsiteX2" fmla="*/ 333932 w 664132"/>
                  <a:gd name="connsiteY2" fmla="*/ 290487 h 290487"/>
                  <a:gd name="connsiteX3" fmla="*/ 0 w 664132"/>
                  <a:gd name="connsiteY3" fmla="*/ 277787 h 290487"/>
                  <a:gd name="connsiteX4" fmla="*/ 0 w 664132"/>
                  <a:gd name="connsiteY4" fmla="*/ 0 h 290487"/>
                  <a:gd name="connsiteX0" fmla="*/ 0 w 664132"/>
                  <a:gd name="connsiteY0" fmla="*/ 0 h 277787"/>
                  <a:gd name="connsiteX1" fmla="*/ 664132 w 664132"/>
                  <a:gd name="connsiteY1" fmla="*/ 0 h 277787"/>
                  <a:gd name="connsiteX2" fmla="*/ 575232 w 664132"/>
                  <a:gd name="connsiteY2" fmla="*/ 271437 h 277787"/>
                  <a:gd name="connsiteX3" fmla="*/ 0 w 664132"/>
                  <a:gd name="connsiteY3" fmla="*/ 277787 h 277787"/>
                  <a:gd name="connsiteX4" fmla="*/ 0 w 664132"/>
                  <a:gd name="connsiteY4" fmla="*/ 0 h 277787"/>
                  <a:gd name="connsiteX0" fmla="*/ 0 w 708582"/>
                  <a:gd name="connsiteY0" fmla="*/ 0 h 277787"/>
                  <a:gd name="connsiteX1" fmla="*/ 708582 w 708582"/>
                  <a:gd name="connsiteY1" fmla="*/ 31750 h 277787"/>
                  <a:gd name="connsiteX2" fmla="*/ 575232 w 708582"/>
                  <a:gd name="connsiteY2" fmla="*/ 271437 h 277787"/>
                  <a:gd name="connsiteX3" fmla="*/ 0 w 708582"/>
                  <a:gd name="connsiteY3" fmla="*/ 277787 h 277787"/>
                  <a:gd name="connsiteX4" fmla="*/ 0 w 708582"/>
                  <a:gd name="connsiteY4" fmla="*/ 0 h 277787"/>
                  <a:gd name="connsiteX0" fmla="*/ 228600 w 708582"/>
                  <a:gd name="connsiteY0" fmla="*/ 6350 h 246037"/>
                  <a:gd name="connsiteX1" fmla="*/ 708582 w 708582"/>
                  <a:gd name="connsiteY1" fmla="*/ 0 h 246037"/>
                  <a:gd name="connsiteX2" fmla="*/ 575232 w 708582"/>
                  <a:gd name="connsiteY2" fmla="*/ 239687 h 246037"/>
                  <a:gd name="connsiteX3" fmla="*/ 0 w 708582"/>
                  <a:gd name="connsiteY3" fmla="*/ 246037 h 246037"/>
                  <a:gd name="connsiteX4" fmla="*/ 228600 w 708582"/>
                  <a:gd name="connsiteY4" fmla="*/ 6350 h 246037"/>
                  <a:gd name="connsiteX0" fmla="*/ 228600 w 778432"/>
                  <a:gd name="connsiteY0" fmla="*/ 0 h 239687"/>
                  <a:gd name="connsiteX1" fmla="*/ 778432 w 778432"/>
                  <a:gd name="connsiteY1" fmla="*/ 25400 h 239687"/>
                  <a:gd name="connsiteX2" fmla="*/ 575232 w 778432"/>
                  <a:gd name="connsiteY2" fmla="*/ 233337 h 239687"/>
                  <a:gd name="connsiteX3" fmla="*/ 0 w 778432"/>
                  <a:gd name="connsiteY3" fmla="*/ 239687 h 239687"/>
                  <a:gd name="connsiteX4" fmla="*/ 228600 w 778432"/>
                  <a:gd name="connsiteY4" fmla="*/ 0 h 239687"/>
                  <a:gd name="connsiteX0" fmla="*/ 228600 w 778432"/>
                  <a:gd name="connsiteY0" fmla="*/ 0 h 214287"/>
                  <a:gd name="connsiteX1" fmla="*/ 778432 w 778432"/>
                  <a:gd name="connsiteY1" fmla="*/ 0 h 214287"/>
                  <a:gd name="connsiteX2" fmla="*/ 575232 w 778432"/>
                  <a:gd name="connsiteY2" fmla="*/ 207937 h 214287"/>
                  <a:gd name="connsiteX3" fmla="*/ 0 w 778432"/>
                  <a:gd name="connsiteY3" fmla="*/ 214287 h 214287"/>
                  <a:gd name="connsiteX4" fmla="*/ 228600 w 778432"/>
                  <a:gd name="connsiteY4" fmla="*/ 0 h 214287"/>
                  <a:gd name="connsiteX0" fmla="*/ 228600 w 730724"/>
                  <a:gd name="connsiteY0" fmla="*/ 3975 h 218262"/>
                  <a:gd name="connsiteX1" fmla="*/ 730724 w 730724"/>
                  <a:gd name="connsiteY1" fmla="*/ 0 h 218262"/>
                  <a:gd name="connsiteX2" fmla="*/ 575232 w 730724"/>
                  <a:gd name="connsiteY2" fmla="*/ 211912 h 218262"/>
                  <a:gd name="connsiteX3" fmla="*/ 0 w 730724"/>
                  <a:gd name="connsiteY3" fmla="*/ 218262 h 218262"/>
                  <a:gd name="connsiteX4" fmla="*/ 228600 w 730724"/>
                  <a:gd name="connsiteY4" fmla="*/ 3975 h 218262"/>
                  <a:gd name="connsiteX0" fmla="*/ 252454 w 754578"/>
                  <a:gd name="connsiteY0" fmla="*/ 3975 h 211912"/>
                  <a:gd name="connsiteX1" fmla="*/ 754578 w 754578"/>
                  <a:gd name="connsiteY1" fmla="*/ 0 h 211912"/>
                  <a:gd name="connsiteX2" fmla="*/ 599086 w 754578"/>
                  <a:gd name="connsiteY2" fmla="*/ 211912 h 211912"/>
                  <a:gd name="connsiteX3" fmla="*/ 0 w 754578"/>
                  <a:gd name="connsiteY3" fmla="*/ 210311 h 211912"/>
                  <a:gd name="connsiteX4" fmla="*/ 252454 w 754578"/>
                  <a:gd name="connsiteY4" fmla="*/ 3975 h 211912"/>
                  <a:gd name="connsiteX0" fmla="*/ 172941 w 754578"/>
                  <a:gd name="connsiteY0" fmla="*/ 0 h 219864"/>
                  <a:gd name="connsiteX1" fmla="*/ 754578 w 754578"/>
                  <a:gd name="connsiteY1" fmla="*/ 7952 h 219864"/>
                  <a:gd name="connsiteX2" fmla="*/ 599086 w 754578"/>
                  <a:gd name="connsiteY2" fmla="*/ 219864 h 219864"/>
                  <a:gd name="connsiteX3" fmla="*/ 0 w 754578"/>
                  <a:gd name="connsiteY3" fmla="*/ 218263 h 219864"/>
                  <a:gd name="connsiteX4" fmla="*/ 172941 w 754578"/>
                  <a:gd name="connsiteY4" fmla="*/ 0 h 219864"/>
                  <a:gd name="connsiteX0" fmla="*/ 172941 w 754578"/>
                  <a:gd name="connsiteY0" fmla="*/ 0 h 223840"/>
                  <a:gd name="connsiteX1" fmla="*/ 754578 w 754578"/>
                  <a:gd name="connsiteY1" fmla="*/ 7952 h 223840"/>
                  <a:gd name="connsiteX2" fmla="*/ 654745 w 754578"/>
                  <a:gd name="connsiteY2" fmla="*/ 223840 h 223840"/>
                  <a:gd name="connsiteX3" fmla="*/ 0 w 754578"/>
                  <a:gd name="connsiteY3" fmla="*/ 218263 h 223840"/>
                  <a:gd name="connsiteX4" fmla="*/ 172941 w 754578"/>
                  <a:gd name="connsiteY4" fmla="*/ 0 h 223840"/>
                  <a:gd name="connsiteX0" fmla="*/ 172941 w 754578"/>
                  <a:gd name="connsiteY0" fmla="*/ 0 h 219864"/>
                  <a:gd name="connsiteX1" fmla="*/ 754578 w 754578"/>
                  <a:gd name="connsiteY1" fmla="*/ 7952 h 219864"/>
                  <a:gd name="connsiteX2" fmla="*/ 646793 w 754578"/>
                  <a:gd name="connsiteY2" fmla="*/ 219864 h 219864"/>
                  <a:gd name="connsiteX3" fmla="*/ 0 w 754578"/>
                  <a:gd name="connsiteY3" fmla="*/ 218263 h 219864"/>
                  <a:gd name="connsiteX4" fmla="*/ 172941 w 754578"/>
                  <a:gd name="connsiteY4" fmla="*/ 0 h 219864"/>
                  <a:gd name="connsiteX0" fmla="*/ 172941 w 818189"/>
                  <a:gd name="connsiteY0" fmla="*/ 0 h 219864"/>
                  <a:gd name="connsiteX1" fmla="*/ 818189 w 818189"/>
                  <a:gd name="connsiteY1" fmla="*/ 31806 h 219864"/>
                  <a:gd name="connsiteX2" fmla="*/ 646793 w 818189"/>
                  <a:gd name="connsiteY2" fmla="*/ 219864 h 219864"/>
                  <a:gd name="connsiteX3" fmla="*/ 0 w 818189"/>
                  <a:gd name="connsiteY3" fmla="*/ 218263 h 219864"/>
                  <a:gd name="connsiteX4" fmla="*/ 172941 w 818189"/>
                  <a:gd name="connsiteY4" fmla="*/ 0 h 219864"/>
                  <a:gd name="connsiteX0" fmla="*/ 172941 w 806262"/>
                  <a:gd name="connsiteY0" fmla="*/ 0 h 219864"/>
                  <a:gd name="connsiteX1" fmla="*/ 806262 w 806262"/>
                  <a:gd name="connsiteY1" fmla="*/ 11928 h 219864"/>
                  <a:gd name="connsiteX2" fmla="*/ 646793 w 806262"/>
                  <a:gd name="connsiteY2" fmla="*/ 219864 h 219864"/>
                  <a:gd name="connsiteX3" fmla="*/ 0 w 806262"/>
                  <a:gd name="connsiteY3" fmla="*/ 218263 h 219864"/>
                  <a:gd name="connsiteX4" fmla="*/ 172941 w 806262"/>
                  <a:gd name="connsiteY4" fmla="*/ 0 h 219864"/>
                  <a:gd name="connsiteX0" fmla="*/ 172941 w 798310"/>
                  <a:gd name="connsiteY0" fmla="*/ 0 h 219864"/>
                  <a:gd name="connsiteX1" fmla="*/ 798310 w 798310"/>
                  <a:gd name="connsiteY1" fmla="*/ 15903 h 219864"/>
                  <a:gd name="connsiteX2" fmla="*/ 646793 w 798310"/>
                  <a:gd name="connsiteY2" fmla="*/ 219864 h 219864"/>
                  <a:gd name="connsiteX3" fmla="*/ 0 w 798310"/>
                  <a:gd name="connsiteY3" fmla="*/ 218263 h 219864"/>
                  <a:gd name="connsiteX4" fmla="*/ 172941 w 798310"/>
                  <a:gd name="connsiteY4" fmla="*/ 0 h 219864"/>
                  <a:gd name="connsiteX0" fmla="*/ 172941 w 798310"/>
                  <a:gd name="connsiteY0" fmla="*/ 0 h 259620"/>
                  <a:gd name="connsiteX1" fmla="*/ 798310 w 798310"/>
                  <a:gd name="connsiteY1" fmla="*/ 15903 h 259620"/>
                  <a:gd name="connsiteX2" fmla="*/ 614988 w 798310"/>
                  <a:gd name="connsiteY2" fmla="*/ 259620 h 259620"/>
                  <a:gd name="connsiteX3" fmla="*/ 0 w 798310"/>
                  <a:gd name="connsiteY3" fmla="*/ 218263 h 259620"/>
                  <a:gd name="connsiteX4" fmla="*/ 172941 w 798310"/>
                  <a:gd name="connsiteY4" fmla="*/ 0 h 259620"/>
                  <a:gd name="connsiteX0" fmla="*/ 188843 w 814212"/>
                  <a:gd name="connsiteY0" fmla="*/ 0 h 259620"/>
                  <a:gd name="connsiteX1" fmla="*/ 814212 w 814212"/>
                  <a:gd name="connsiteY1" fmla="*/ 15903 h 259620"/>
                  <a:gd name="connsiteX2" fmla="*/ 630890 w 814212"/>
                  <a:gd name="connsiteY2" fmla="*/ 259620 h 259620"/>
                  <a:gd name="connsiteX3" fmla="*/ 0 w 814212"/>
                  <a:gd name="connsiteY3" fmla="*/ 254043 h 259620"/>
                  <a:gd name="connsiteX4" fmla="*/ 188843 w 814212"/>
                  <a:gd name="connsiteY4" fmla="*/ 0 h 259620"/>
                  <a:gd name="connsiteX0" fmla="*/ 208721 w 834090"/>
                  <a:gd name="connsiteY0" fmla="*/ 0 h 259620"/>
                  <a:gd name="connsiteX1" fmla="*/ 834090 w 834090"/>
                  <a:gd name="connsiteY1" fmla="*/ 15903 h 259620"/>
                  <a:gd name="connsiteX2" fmla="*/ 650768 w 834090"/>
                  <a:gd name="connsiteY2" fmla="*/ 259620 h 259620"/>
                  <a:gd name="connsiteX3" fmla="*/ 0 w 834090"/>
                  <a:gd name="connsiteY3" fmla="*/ 254043 h 259620"/>
                  <a:gd name="connsiteX4" fmla="*/ 208721 w 834090"/>
                  <a:gd name="connsiteY4" fmla="*/ 0 h 259620"/>
                  <a:gd name="connsiteX0" fmla="*/ 268356 w 893725"/>
                  <a:gd name="connsiteY0" fmla="*/ 0 h 259620"/>
                  <a:gd name="connsiteX1" fmla="*/ 893725 w 893725"/>
                  <a:gd name="connsiteY1" fmla="*/ 15903 h 259620"/>
                  <a:gd name="connsiteX2" fmla="*/ 710403 w 893725"/>
                  <a:gd name="connsiteY2" fmla="*/ 259620 h 259620"/>
                  <a:gd name="connsiteX3" fmla="*/ 0 w 893725"/>
                  <a:gd name="connsiteY3" fmla="*/ 254043 h 259620"/>
                  <a:gd name="connsiteX4" fmla="*/ 268356 w 893725"/>
                  <a:gd name="connsiteY4" fmla="*/ 0 h 259620"/>
                  <a:gd name="connsiteX0" fmla="*/ 260405 w 885774"/>
                  <a:gd name="connsiteY0" fmla="*/ 0 h 259620"/>
                  <a:gd name="connsiteX1" fmla="*/ 885774 w 885774"/>
                  <a:gd name="connsiteY1" fmla="*/ 15903 h 259620"/>
                  <a:gd name="connsiteX2" fmla="*/ 702452 w 885774"/>
                  <a:gd name="connsiteY2" fmla="*/ 259620 h 259620"/>
                  <a:gd name="connsiteX3" fmla="*/ 0 w 885774"/>
                  <a:gd name="connsiteY3" fmla="*/ 254043 h 259620"/>
                  <a:gd name="connsiteX4" fmla="*/ 260405 w 885774"/>
                  <a:gd name="connsiteY4" fmla="*/ 0 h 259620"/>
                  <a:gd name="connsiteX0" fmla="*/ 220648 w 885774"/>
                  <a:gd name="connsiteY0" fmla="*/ 0 h 243717"/>
                  <a:gd name="connsiteX1" fmla="*/ 885774 w 885774"/>
                  <a:gd name="connsiteY1" fmla="*/ 0 h 243717"/>
                  <a:gd name="connsiteX2" fmla="*/ 702452 w 885774"/>
                  <a:gd name="connsiteY2" fmla="*/ 243717 h 243717"/>
                  <a:gd name="connsiteX3" fmla="*/ 0 w 885774"/>
                  <a:gd name="connsiteY3" fmla="*/ 238140 h 243717"/>
                  <a:gd name="connsiteX4" fmla="*/ 220648 w 885774"/>
                  <a:gd name="connsiteY4" fmla="*/ 0 h 243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5774" h="243717">
                    <a:moveTo>
                      <a:pt x="220648" y="0"/>
                    </a:moveTo>
                    <a:lnTo>
                      <a:pt x="885774" y="0"/>
                    </a:lnTo>
                    <a:lnTo>
                      <a:pt x="702452" y="243717"/>
                    </a:lnTo>
                    <a:lnTo>
                      <a:pt x="0" y="238140"/>
                    </a:lnTo>
                    <a:lnTo>
                      <a:pt x="220648" y="0"/>
                    </a:lnTo>
                    <a:close/>
                  </a:path>
                </a:pathLst>
              </a:custGeom>
              <a:solidFill>
                <a:srgbClr val="FFFFFF">
                  <a:lumMod val="50000"/>
                </a:srgbClr>
              </a:solidFill>
              <a:ln w="25400" cap="flat" cmpd="sng" algn="ctr">
                <a:noFill/>
                <a:prstDash val="solid"/>
              </a:ln>
              <a:effectLst>
                <a:softEdge rad="31750"/>
              </a:effectLst>
            </p:spPr>
            <p:txBody>
              <a:bodyPr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43" name="Groep 142"/>
              <p:cNvGrpSpPr/>
              <p:nvPr userDrawn="1"/>
            </p:nvGrpSpPr>
            <p:grpSpPr>
              <a:xfrm>
                <a:off x="15281106" y="1587338"/>
                <a:ext cx="511775" cy="560304"/>
                <a:chOff x="10604642" y="969717"/>
                <a:chExt cx="1290643" cy="1427163"/>
              </a:xfrm>
            </p:grpSpPr>
            <p:grpSp>
              <p:nvGrpSpPr>
                <p:cNvPr id="144" name="Group 879"/>
                <p:cNvGrpSpPr>
                  <a:grpSpLocks noChangeAspect="1"/>
                </p:cNvGrpSpPr>
                <p:nvPr userDrawn="1"/>
              </p:nvGrpSpPr>
              <p:grpSpPr bwMode="auto">
                <a:xfrm>
                  <a:off x="10604642" y="969717"/>
                  <a:ext cx="1290643" cy="1427163"/>
                  <a:chOff x="4798" y="1515"/>
                  <a:chExt cx="813" cy="899"/>
                </a:xfrm>
              </p:grpSpPr>
              <p:sp>
                <p:nvSpPr>
                  <p:cNvPr id="146" name="Freeform 886"/>
                  <p:cNvSpPr>
                    <a:spLocks/>
                  </p:cNvSpPr>
                  <p:nvPr userDrawn="1"/>
                </p:nvSpPr>
                <p:spPr bwMode="auto">
                  <a:xfrm>
                    <a:off x="5269" y="1515"/>
                    <a:ext cx="71" cy="898"/>
                  </a:xfrm>
                  <a:custGeom>
                    <a:avLst/>
                    <a:gdLst>
                      <a:gd name="T0" fmla="*/ 282 w 282"/>
                      <a:gd name="T1" fmla="*/ 0 h 3595"/>
                      <a:gd name="T2" fmla="*/ 282 w 282"/>
                      <a:gd name="T3" fmla="*/ 3138 h 3595"/>
                      <a:gd name="T4" fmla="*/ 0 w 282"/>
                      <a:gd name="T5" fmla="*/ 3595 h 3595"/>
                      <a:gd name="T6" fmla="*/ 0 w 282"/>
                      <a:gd name="T7" fmla="*/ 285 h 3595"/>
                      <a:gd name="T8" fmla="*/ 282 w 282"/>
                      <a:gd name="T9" fmla="*/ 0 h 35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82" h="3595">
                        <a:moveTo>
                          <a:pt x="282" y="0"/>
                        </a:moveTo>
                        <a:lnTo>
                          <a:pt x="282" y="3138"/>
                        </a:lnTo>
                        <a:lnTo>
                          <a:pt x="0" y="3595"/>
                        </a:lnTo>
                        <a:lnTo>
                          <a:pt x="0" y="285"/>
                        </a:lnTo>
                        <a:lnTo>
                          <a:pt x="282" y="0"/>
                        </a:lnTo>
                        <a:close/>
                      </a:path>
                    </a:pathLst>
                  </a:custGeom>
                  <a:solidFill>
                    <a:srgbClr val="FFC000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7" name="Rectangle 880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798" y="1515"/>
                    <a:ext cx="813" cy="899"/>
                  </a:xfrm>
                  <a:prstGeom prst="rect">
                    <a:avLst/>
                  </a:prstGeom>
                  <a:noFill/>
                  <a:ln w="0">
                    <a:noFill/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8" name="Rectangle 881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798" y="1857"/>
                    <a:ext cx="228" cy="557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002060"/>
                      </a:gs>
                      <a:gs pos="100000">
                        <a:srgbClr val="1929FF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9" name="Freeform 882"/>
                  <p:cNvSpPr>
                    <a:spLocks/>
                  </p:cNvSpPr>
                  <p:nvPr userDrawn="1"/>
                </p:nvSpPr>
                <p:spPr bwMode="auto">
                  <a:xfrm>
                    <a:off x="4798" y="1771"/>
                    <a:ext cx="314" cy="86"/>
                  </a:xfrm>
                  <a:custGeom>
                    <a:avLst/>
                    <a:gdLst>
                      <a:gd name="T0" fmla="*/ 411 w 1255"/>
                      <a:gd name="T1" fmla="*/ 0 h 342"/>
                      <a:gd name="T2" fmla="*/ 1255 w 1255"/>
                      <a:gd name="T3" fmla="*/ 0 h 342"/>
                      <a:gd name="T4" fmla="*/ 913 w 1255"/>
                      <a:gd name="T5" fmla="*/ 342 h 342"/>
                      <a:gd name="T6" fmla="*/ 0 w 1255"/>
                      <a:gd name="T7" fmla="*/ 342 h 342"/>
                      <a:gd name="T8" fmla="*/ 411 w 1255"/>
                      <a:gd name="T9" fmla="*/ 0 h 3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255" h="342">
                        <a:moveTo>
                          <a:pt x="411" y="0"/>
                        </a:moveTo>
                        <a:lnTo>
                          <a:pt x="1255" y="0"/>
                        </a:lnTo>
                        <a:lnTo>
                          <a:pt x="913" y="342"/>
                        </a:lnTo>
                        <a:lnTo>
                          <a:pt x="0" y="342"/>
                        </a:lnTo>
                        <a:lnTo>
                          <a:pt x="411" y="0"/>
                        </a:lnTo>
                        <a:close/>
                      </a:path>
                    </a:pathLst>
                  </a:custGeom>
                  <a:solidFill>
                    <a:srgbClr val="0039AC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0" name="Freeform 883"/>
                  <p:cNvSpPr>
                    <a:spLocks/>
                  </p:cNvSpPr>
                  <p:nvPr userDrawn="1"/>
                </p:nvSpPr>
                <p:spPr bwMode="auto">
                  <a:xfrm>
                    <a:off x="5026" y="1771"/>
                    <a:ext cx="85" cy="642"/>
                  </a:xfrm>
                  <a:custGeom>
                    <a:avLst/>
                    <a:gdLst>
                      <a:gd name="T0" fmla="*/ 342 w 342"/>
                      <a:gd name="T1" fmla="*/ 0 h 2568"/>
                      <a:gd name="T2" fmla="*/ 342 w 342"/>
                      <a:gd name="T3" fmla="*/ 2111 h 2568"/>
                      <a:gd name="T4" fmla="*/ 0 w 342"/>
                      <a:gd name="T5" fmla="*/ 2568 h 2568"/>
                      <a:gd name="T6" fmla="*/ 0 w 342"/>
                      <a:gd name="T7" fmla="*/ 342 h 2568"/>
                      <a:gd name="T8" fmla="*/ 342 w 342"/>
                      <a:gd name="T9" fmla="*/ 0 h 25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2" h="2568">
                        <a:moveTo>
                          <a:pt x="342" y="0"/>
                        </a:moveTo>
                        <a:lnTo>
                          <a:pt x="342" y="2111"/>
                        </a:lnTo>
                        <a:lnTo>
                          <a:pt x="0" y="2568"/>
                        </a:lnTo>
                        <a:lnTo>
                          <a:pt x="0" y="342"/>
                        </a:lnTo>
                        <a:lnTo>
                          <a:pt x="342" y="0"/>
                        </a:lnTo>
                        <a:close/>
                      </a:path>
                    </a:pathLst>
                  </a:custGeom>
                  <a:solidFill>
                    <a:srgbClr val="000075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1" name="Freeform 884"/>
                  <p:cNvSpPr>
                    <a:spLocks/>
                  </p:cNvSpPr>
                  <p:nvPr userDrawn="1"/>
                </p:nvSpPr>
                <p:spPr bwMode="auto">
                  <a:xfrm>
                    <a:off x="5054" y="1515"/>
                    <a:ext cx="286" cy="72"/>
                  </a:xfrm>
                  <a:custGeom>
                    <a:avLst/>
                    <a:gdLst>
                      <a:gd name="T0" fmla="*/ 318 w 1140"/>
                      <a:gd name="T1" fmla="*/ 0 h 289"/>
                      <a:gd name="T2" fmla="*/ 1140 w 1140"/>
                      <a:gd name="T3" fmla="*/ 0 h 289"/>
                      <a:gd name="T4" fmla="*/ 855 w 1140"/>
                      <a:gd name="T5" fmla="*/ 289 h 289"/>
                      <a:gd name="T6" fmla="*/ 0 w 1140"/>
                      <a:gd name="T7" fmla="*/ 289 h 289"/>
                      <a:gd name="T8" fmla="*/ 318 w 1140"/>
                      <a:gd name="T9" fmla="*/ 0 h 28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40" h="289">
                        <a:moveTo>
                          <a:pt x="318" y="0"/>
                        </a:moveTo>
                        <a:lnTo>
                          <a:pt x="1140" y="0"/>
                        </a:lnTo>
                        <a:lnTo>
                          <a:pt x="855" y="289"/>
                        </a:lnTo>
                        <a:lnTo>
                          <a:pt x="0" y="289"/>
                        </a:lnTo>
                        <a:lnTo>
                          <a:pt x="318" y="0"/>
                        </a:lnTo>
                        <a:close/>
                      </a:path>
                    </a:pathLst>
                  </a:custGeom>
                  <a:solidFill>
                    <a:srgbClr val="EEFF26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2" name="Rectangle 885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5054" y="1587"/>
                    <a:ext cx="215" cy="827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FFC000"/>
                      </a:gs>
                      <a:gs pos="100000">
                        <a:srgbClr val="FFFF00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3" name="Rectangle 887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5298" y="1771"/>
                    <a:ext cx="228" cy="643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B80004"/>
                      </a:gs>
                      <a:gs pos="100000">
                        <a:srgbClr val="FF0000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4" name="Freeform 888"/>
                  <p:cNvSpPr>
                    <a:spLocks/>
                  </p:cNvSpPr>
                  <p:nvPr userDrawn="1"/>
                </p:nvSpPr>
                <p:spPr bwMode="auto">
                  <a:xfrm>
                    <a:off x="5526" y="1686"/>
                    <a:ext cx="85" cy="727"/>
                  </a:xfrm>
                  <a:custGeom>
                    <a:avLst/>
                    <a:gdLst>
                      <a:gd name="T0" fmla="*/ 342 w 342"/>
                      <a:gd name="T1" fmla="*/ 0 h 2911"/>
                      <a:gd name="T2" fmla="*/ 342 w 342"/>
                      <a:gd name="T3" fmla="*/ 2477 h 2911"/>
                      <a:gd name="T4" fmla="*/ 0 w 342"/>
                      <a:gd name="T5" fmla="*/ 2911 h 2911"/>
                      <a:gd name="T6" fmla="*/ 0 w 342"/>
                      <a:gd name="T7" fmla="*/ 334 h 2911"/>
                      <a:gd name="T8" fmla="*/ 342 w 342"/>
                      <a:gd name="T9" fmla="*/ 0 h 29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2" h="2911">
                        <a:moveTo>
                          <a:pt x="342" y="0"/>
                        </a:moveTo>
                        <a:lnTo>
                          <a:pt x="342" y="2477"/>
                        </a:lnTo>
                        <a:lnTo>
                          <a:pt x="0" y="2911"/>
                        </a:lnTo>
                        <a:lnTo>
                          <a:pt x="0" y="334"/>
                        </a:lnTo>
                        <a:lnTo>
                          <a:pt x="342" y="0"/>
                        </a:lnTo>
                        <a:close/>
                      </a:path>
                    </a:pathLst>
                  </a:custGeom>
                  <a:solidFill>
                    <a:srgbClr val="C2001B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  <p:sp>
              <p:nvSpPr>
                <p:cNvPr id="145" name="Vrije vorm 144"/>
                <p:cNvSpPr/>
                <p:nvPr userDrawn="1"/>
              </p:nvSpPr>
              <p:spPr>
                <a:xfrm>
                  <a:off x="11389225" y="1241176"/>
                  <a:ext cx="506025" cy="137883"/>
                </a:xfrm>
                <a:custGeom>
                  <a:avLst/>
                  <a:gdLst>
                    <a:gd name="connsiteX0" fmla="*/ 0 w 508407"/>
                    <a:gd name="connsiteY0" fmla="*/ 142646 h 146304"/>
                    <a:gd name="connsiteX1" fmla="*/ 369418 w 508407"/>
                    <a:gd name="connsiteY1" fmla="*/ 146304 h 146304"/>
                    <a:gd name="connsiteX2" fmla="*/ 508407 w 508407"/>
                    <a:gd name="connsiteY2" fmla="*/ 0 h 146304"/>
                    <a:gd name="connsiteX3" fmla="*/ 168250 w 508407"/>
                    <a:gd name="connsiteY3" fmla="*/ 0 h 146304"/>
                    <a:gd name="connsiteX4" fmla="*/ 0 w 508407"/>
                    <a:gd name="connsiteY4" fmla="*/ 142646 h 146304"/>
                    <a:gd name="connsiteX0" fmla="*/ 0 w 508407"/>
                    <a:gd name="connsiteY0" fmla="*/ 142646 h 142646"/>
                    <a:gd name="connsiteX1" fmla="*/ 376562 w 508407"/>
                    <a:gd name="connsiteY1" fmla="*/ 136779 h 142646"/>
                    <a:gd name="connsiteX2" fmla="*/ 508407 w 508407"/>
                    <a:gd name="connsiteY2" fmla="*/ 0 h 142646"/>
                    <a:gd name="connsiteX3" fmla="*/ 168250 w 508407"/>
                    <a:gd name="connsiteY3" fmla="*/ 0 h 142646"/>
                    <a:gd name="connsiteX4" fmla="*/ 0 w 508407"/>
                    <a:gd name="connsiteY4" fmla="*/ 142646 h 142646"/>
                    <a:gd name="connsiteX0" fmla="*/ 0 w 506025"/>
                    <a:gd name="connsiteY0" fmla="*/ 137883 h 137883"/>
                    <a:gd name="connsiteX1" fmla="*/ 374180 w 506025"/>
                    <a:gd name="connsiteY1" fmla="*/ 136779 h 137883"/>
                    <a:gd name="connsiteX2" fmla="*/ 506025 w 506025"/>
                    <a:gd name="connsiteY2" fmla="*/ 0 h 137883"/>
                    <a:gd name="connsiteX3" fmla="*/ 165868 w 506025"/>
                    <a:gd name="connsiteY3" fmla="*/ 0 h 137883"/>
                    <a:gd name="connsiteX4" fmla="*/ 0 w 506025"/>
                    <a:gd name="connsiteY4" fmla="*/ 137883 h 137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6025" h="137883">
                      <a:moveTo>
                        <a:pt x="0" y="137883"/>
                      </a:moveTo>
                      <a:lnTo>
                        <a:pt x="374180" y="136779"/>
                      </a:lnTo>
                      <a:lnTo>
                        <a:pt x="506025" y="0"/>
                      </a:lnTo>
                      <a:lnTo>
                        <a:pt x="165868" y="0"/>
                      </a:lnTo>
                      <a:lnTo>
                        <a:pt x="0" y="137883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89" name="Groep 88"/>
            <p:cNvGrpSpPr/>
            <p:nvPr/>
          </p:nvGrpSpPr>
          <p:grpSpPr>
            <a:xfrm>
              <a:off x="12487778" y="6003628"/>
              <a:ext cx="1980859" cy="542924"/>
              <a:chOff x="12390702" y="6054428"/>
              <a:chExt cx="1980859" cy="542924"/>
            </a:xfrm>
          </p:grpSpPr>
          <p:sp>
            <p:nvSpPr>
              <p:cNvPr id="108" name="Rechthoek 107"/>
              <p:cNvSpPr/>
              <p:nvPr/>
            </p:nvSpPr>
            <p:spPr>
              <a:xfrm>
                <a:off x="12402284" y="6054428"/>
                <a:ext cx="1969277" cy="54292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sp>
            <p:nvSpPr>
              <p:cNvPr id="109" name="Rechthoek 108"/>
              <p:cNvSpPr/>
              <p:nvPr/>
            </p:nvSpPr>
            <p:spPr>
              <a:xfrm>
                <a:off x="12662053" y="6062530"/>
                <a:ext cx="132760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nl-NL" sz="11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rPr>
                  <a:t>Ander grafiektype…</a:t>
                </a:r>
              </a:p>
            </p:txBody>
          </p:sp>
          <p:sp>
            <p:nvSpPr>
              <p:cNvPr id="110" name="Gelijkbenige driehoek 109"/>
              <p:cNvSpPr/>
              <p:nvPr/>
            </p:nvSpPr>
            <p:spPr>
              <a:xfrm rot="5400000">
                <a:off x="14210471" y="6150144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sp>
            <p:nvSpPr>
              <p:cNvPr id="111" name="Afgeronde rechthoek 110"/>
              <p:cNvSpPr/>
              <p:nvPr/>
            </p:nvSpPr>
            <p:spPr>
              <a:xfrm>
                <a:off x="12390702" y="6322741"/>
                <a:ext cx="1973675" cy="268314"/>
              </a:xfrm>
              <a:prstGeom prst="roundRect">
                <a:avLst/>
              </a:prstGeom>
              <a:gradFill>
                <a:gsLst>
                  <a:gs pos="0">
                    <a:srgbClr val="FFF2BD"/>
                  </a:gs>
                  <a:gs pos="34000">
                    <a:srgbClr val="FFE98B"/>
                  </a:gs>
                  <a:gs pos="78000">
                    <a:srgbClr val="FFF5C9"/>
                  </a:gs>
                  <a:gs pos="59000">
                    <a:srgbClr val="FFE98B"/>
                  </a:gs>
                </a:gsLst>
                <a:lin ang="5400000" scaled="0"/>
              </a:gradFill>
              <a:ln w="6350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000" rtlCol="0" anchor="ctr"/>
              <a:lstStyle/>
              <a:p>
                <a:r>
                  <a:rPr lang="nl-NL" sz="1200" dirty="0">
                    <a:solidFill>
                      <a:schemeClr val="tx1"/>
                    </a:solidFill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rPr>
                  <a:t>Gegevens bewerken…</a:t>
                </a:r>
              </a:p>
            </p:txBody>
          </p:sp>
          <p:grpSp>
            <p:nvGrpSpPr>
              <p:cNvPr id="112" name="Groep 111"/>
              <p:cNvGrpSpPr/>
              <p:nvPr/>
            </p:nvGrpSpPr>
            <p:grpSpPr>
              <a:xfrm>
                <a:off x="12461788" y="6100223"/>
                <a:ext cx="204691" cy="170000"/>
                <a:chOff x="15171969" y="1587338"/>
                <a:chExt cx="755407" cy="627385"/>
              </a:xfrm>
            </p:grpSpPr>
            <p:sp>
              <p:nvSpPr>
                <p:cNvPr id="129" name="Rechthoek 962"/>
                <p:cNvSpPr/>
                <p:nvPr userDrawn="1"/>
              </p:nvSpPr>
              <p:spPr>
                <a:xfrm>
                  <a:off x="15171969" y="2008934"/>
                  <a:ext cx="755407" cy="205789"/>
                </a:xfrm>
                <a:custGeom>
                  <a:avLst/>
                  <a:gdLst>
                    <a:gd name="connsiteX0" fmla="*/ 0 w 664132"/>
                    <a:gd name="connsiteY0" fmla="*/ 0 h 277787"/>
                    <a:gd name="connsiteX1" fmla="*/ 664132 w 664132"/>
                    <a:gd name="connsiteY1" fmla="*/ 0 h 277787"/>
                    <a:gd name="connsiteX2" fmla="*/ 664132 w 664132"/>
                    <a:gd name="connsiteY2" fmla="*/ 277787 h 277787"/>
                    <a:gd name="connsiteX3" fmla="*/ 0 w 664132"/>
                    <a:gd name="connsiteY3" fmla="*/ 277787 h 277787"/>
                    <a:gd name="connsiteX4" fmla="*/ 0 w 664132"/>
                    <a:gd name="connsiteY4" fmla="*/ 0 h 277787"/>
                    <a:gd name="connsiteX0" fmla="*/ 0 w 664132"/>
                    <a:gd name="connsiteY0" fmla="*/ 0 h 290487"/>
                    <a:gd name="connsiteX1" fmla="*/ 664132 w 664132"/>
                    <a:gd name="connsiteY1" fmla="*/ 0 h 290487"/>
                    <a:gd name="connsiteX2" fmla="*/ 333932 w 664132"/>
                    <a:gd name="connsiteY2" fmla="*/ 290487 h 290487"/>
                    <a:gd name="connsiteX3" fmla="*/ 0 w 664132"/>
                    <a:gd name="connsiteY3" fmla="*/ 277787 h 290487"/>
                    <a:gd name="connsiteX4" fmla="*/ 0 w 664132"/>
                    <a:gd name="connsiteY4" fmla="*/ 0 h 290487"/>
                    <a:gd name="connsiteX0" fmla="*/ 0 w 664132"/>
                    <a:gd name="connsiteY0" fmla="*/ 0 h 277787"/>
                    <a:gd name="connsiteX1" fmla="*/ 664132 w 664132"/>
                    <a:gd name="connsiteY1" fmla="*/ 0 h 277787"/>
                    <a:gd name="connsiteX2" fmla="*/ 575232 w 664132"/>
                    <a:gd name="connsiteY2" fmla="*/ 271437 h 277787"/>
                    <a:gd name="connsiteX3" fmla="*/ 0 w 664132"/>
                    <a:gd name="connsiteY3" fmla="*/ 277787 h 277787"/>
                    <a:gd name="connsiteX4" fmla="*/ 0 w 664132"/>
                    <a:gd name="connsiteY4" fmla="*/ 0 h 277787"/>
                    <a:gd name="connsiteX0" fmla="*/ 0 w 708582"/>
                    <a:gd name="connsiteY0" fmla="*/ 0 h 277787"/>
                    <a:gd name="connsiteX1" fmla="*/ 708582 w 708582"/>
                    <a:gd name="connsiteY1" fmla="*/ 31750 h 277787"/>
                    <a:gd name="connsiteX2" fmla="*/ 575232 w 708582"/>
                    <a:gd name="connsiteY2" fmla="*/ 271437 h 277787"/>
                    <a:gd name="connsiteX3" fmla="*/ 0 w 708582"/>
                    <a:gd name="connsiteY3" fmla="*/ 277787 h 277787"/>
                    <a:gd name="connsiteX4" fmla="*/ 0 w 708582"/>
                    <a:gd name="connsiteY4" fmla="*/ 0 h 277787"/>
                    <a:gd name="connsiteX0" fmla="*/ 228600 w 708582"/>
                    <a:gd name="connsiteY0" fmla="*/ 6350 h 246037"/>
                    <a:gd name="connsiteX1" fmla="*/ 708582 w 708582"/>
                    <a:gd name="connsiteY1" fmla="*/ 0 h 246037"/>
                    <a:gd name="connsiteX2" fmla="*/ 575232 w 708582"/>
                    <a:gd name="connsiteY2" fmla="*/ 239687 h 246037"/>
                    <a:gd name="connsiteX3" fmla="*/ 0 w 708582"/>
                    <a:gd name="connsiteY3" fmla="*/ 246037 h 246037"/>
                    <a:gd name="connsiteX4" fmla="*/ 228600 w 708582"/>
                    <a:gd name="connsiteY4" fmla="*/ 6350 h 246037"/>
                    <a:gd name="connsiteX0" fmla="*/ 228600 w 778432"/>
                    <a:gd name="connsiteY0" fmla="*/ 0 h 239687"/>
                    <a:gd name="connsiteX1" fmla="*/ 778432 w 778432"/>
                    <a:gd name="connsiteY1" fmla="*/ 25400 h 239687"/>
                    <a:gd name="connsiteX2" fmla="*/ 575232 w 778432"/>
                    <a:gd name="connsiteY2" fmla="*/ 233337 h 239687"/>
                    <a:gd name="connsiteX3" fmla="*/ 0 w 778432"/>
                    <a:gd name="connsiteY3" fmla="*/ 239687 h 239687"/>
                    <a:gd name="connsiteX4" fmla="*/ 228600 w 778432"/>
                    <a:gd name="connsiteY4" fmla="*/ 0 h 239687"/>
                    <a:gd name="connsiteX0" fmla="*/ 228600 w 778432"/>
                    <a:gd name="connsiteY0" fmla="*/ 0 h 214287"/>
                    <a:gd name="connsiteX1" fmla="*/ 778432 w 778432"/>
                    <a:gd name="connsiteY1" fmla="*/ 0 h 214287"/>
                    <a:gd name="connsiteX2" fmla="*/ 575232 w 778432"/>
                    <a:gd name="connsiteY2" fmla="*/ 207937 h 214287"/>
                    <a:gd name="connsiteX3" fmla="*/ 0 w 778432"/>
                    <a:gd name="connsiteY3" fmla="*/ 214287 h 214287"/>
                    <a:gd name="connsiteX4" fmla="*/ 228600 w 778432"/>
                    <a:gd name="connsiteY4" fmla="*/ 0 h 214287"/>
                    <a:gd name="connsiteX0" fmla="*/ 228600 w 730724"/>
                    <a:gd name="connsiteY0" fmla="*/ 3975 h 218262"/>
                    <a:gd name="connsiteX1" fmla="*/ 730724 w 730724"/>
                    <a:gd name="connsiteY1" fmla="*/ 0 h 218262"/>
                    <a:gd name="connsiteX2" fmla="*/ 575232 w 730724"/>
                    <a:gd name="connsiteY2" fmla="*/ 211912 h 218262"/>
                    <a:gd name="connsiteX3" fmla="*/ 0 w 730724"/>
                    <a:gd name="connsiteY3" fmla="*/ 218262 h 218262"/>
                    <a:gd name="connsiteX4" fmla="*/ 228600 w 730724"/>
                    <a:gd name="connsiteY4" fmla="*/ 3975 h 218262"/>
                    <a:gd name="connsiteX0" fmla="*/ 252454 w 754578"/>
                    <a:gd name="connsiteY0" fmla="*/ 3975 h 211912"/>
                    <a:gd name="connsiteX1" fmla="*/ 754578 w 754578"/>
                    <a:gd name="connsiteY1" fmla="*/ 0 h 211912"/>
                    <a:gd name="connsiteX2" fmla="*/ 599086 w 754578"/>
                    <a:gd name="connsiteY2" fmla="*/ 211912 h 211912"/>
                    <a:gd name="connsiteX3" fmla="*/ 0 w 754578"/>
                    <a:gd name="connsiteY3" fmla="*/ 210311 h 211912"/>
                    <a:gd name="connsiteX4" fmla="*/ 252454 w 754578"/>
                    <a:gd name="connsiteY4" fmla="*/ 3975 h 211912"/>
                    <a:gd name="connsiteX0" fmla="*/ 172941 w 754578"/>
                    <a:gd name="connsiteY0" fmla="*/ 0 h 219864"/>
                    <a:gd name="connsiteX1" fmla="*/ 754578 w 754578"/>
                    <a:gd name="connsiteY1" fmla="*/ 7952 h 219864"/>
                    <a:gd name="connsiteX2" fmla="*/ 599086 w 754578"/>
                    <a:gd name="connsiteY2" fmla="*/ 219864 h 219864"/>
                    <a:gd name="connsiteX3" fmla="*/ 0 w 754578"/>
                    <a:gd name="connsiteY3" fmla="*/ 218263 h 219864"/>
                    <a:gd name="connsiteX4" fmla="*/ 172941 w 754578"/>
                    <a:gd name="connsiteY4" fmla="*/ 0 h 219864"/>
                    <a:gd name="connsiteX0" fmla="*/ 172941 w 754578"/>
                    <a:gd name="connsiteY0" fmla="*/ 0 h 223840"/>
                    <a:gd name="connsiteX1" fmla="*/ 754578 w 754578"/>
                    <a:gd name="connsiteY1" fmla="*/ 7952 h 223840"/>
                    <a:gd name="connsiteX2" fmla="*/ 654745 w 754578"/>
                    <a:gd name="connsiteY2" fmla="*/ 223840 h 223840"/>
                    <a:gd name="connsiteX3" fmla="*/ 0 w 754578"/>
                    <a:gd name="connsiteY3" fmla="*/ 218263 h 223840"/>
                    <a:gd name="connsiteX4" fmla="*/ 172941 w 754578"/>
                    <a:gd name="connsiteY4" fmla="*/ 0 h 223840"/>
                    <a:gd name="connsiteX0" fmla="*/ 172941 w 754578"/>
                    <a:gd name="connsiteY0" fmla="*/ 0 h 219864"/>
                    <a:gd name="connsiteX1" fmla="*/ 754578 w 754578"/>
                    <a:gd name="connsiteY1" fmla="*/ 7952 h 219864"/>
                    <a:gd name="connsiteX2" fmla="*/ 646793 w 754578"/>
                    <a:gd name="connsiteY2" fmla="*/ 219864 h 219864"/>
                    <a:gd name="connsiteX3" fmla="*/ 0 w 754578"/>
                    <a:gd name="connsiteY3" fmla="*/ 218263 h 219864"/>
                    <a:gd name="connsiteX4" fmla="*/ 172941 w 754578"/>
                    <a:gd name="connsiteY4" fmla="*/ 0 h 219864"/>
                    <a:gd name="connsiteX0" fmla="*/ 172941 w 818189"/>
                    <a:gd name="connsiteY0" fmla="*/ 0 h 219864"/>
                    <a:gd name="connsiteX1" fmla="*/ 818189 w 818189"/>
                    <a:gd name="connsiteY1" fmla="*/ 31806 h 219864"/>
                    <a:gd name="connsiteX2" fmla="*/ 646793 w 818189"/>
                    <a:gd name="connsiteY2" fmla="*/ 219864 h 219864"/>
                    <a:gd name="connsiteX3" fmla="*/ 0 w 818189"/>
                    <a:gd name="connsiteY3" fmla="*/ 218263 h 219864"/>
                    <a:gd name="connsiteX4" fmla="*/ 172941 w 818189"/>
                    <a:gd name="connsiteY4" fmla="*/ 0 h 219864"/>
                    <a:gd name="connsiteX0" fmla="*/ 172941 w 806262"/>
                    <a:gd name="connsiteY0" fmla="*/ 0 h 219864"/>
                    <a:gd name="connsiteX1" fmla="*/ 806262 w 806262"/>
                    <a:gd name="connsiteY1" fmla="*/ 11928 h 219864"/>
                    <a:gd name="connsiteX2" fmla="*/ 646793 w 806262"/>
                    <a:gd name="connsiteY2" fmla="*/ 219864 h 219864"/>
                    <a:gd name="connsiteX3" fmla="*/ 0 w 806262"/>
                    <a:gd name="connsiteY3" fmla="*/ 218263 h 219864"/>
                    <a:gd name="connsiteX4" fmla="*/ 172941 w 806262"/>
                    <a:gd name="connsiteY4" fmla="*/ 0 h 219864"/>
                    <a:gd name="connsiteX0" fmla="*/ 172941 w 798310"/>
                    <a:gd name="connsiteY0" fmla="*/ 0 h 219864"/>
                    <a:gd name="connsiteX1" fmla="*/ 798310 w 798310"/>
                    <a:gd name="connsiteY1" fmla="*/ 15903 h 219864"/>
                    <a:gd name="connsiteX2" fmla="*/ 646793 w 798310"/>
                    <a:gd name="connsiteY2" fmla="*/ 219864 h 219864"/>
                    <a:gd name="connsiteX3" fmla="*/ 0 w 798310"/>
                    <a:gd name="connsiteY3" fmla="*/ 218263 h 219864"/>
                    <a:gd name="connsiteX4" fmla="*/ 172941 w 798310"/>
                    <a:gd name="connsiteY4" fmla="*/ 0 h 219864"/>
                    <a:gd name="connsiteX0" fmla="*/ 172941 w 798310"/>
                    <a:gd name="connsiteY0" fmla="*/ 0 h 259620"/>
                    <a:gd name="connsiteX1" fmla="*/ 798310 w 798310"/>
                    <a:gd name="connsiteY1" fmla="*/ 15903 h 259620"/>
                    <a:gd name="connsiteX2" fmla="*/ 614988 w 798310"/>
                    <a:gd name="connsiteY2" fmla="*/ 259620 h 259620"/>
                    <a:gd name="connsiteX3" fmla="*/ 0 w 798310"/>
                    <a:gd name="connsiteY3" fmla="*/ 218263 h 259620"/>
                    <a:gd name="connsiteX4" fmla="*/ 172941 w 798310"/>
                    <a:gd name="connsiteY4" fmla="*/ 0 h 259620"/>
                    <a:gd name="connsiteX0" fmla="*/ 188843 w 814212"/>
                    <a:gd name="connsiteY0" fmla="*/ 0 h 259620"/>
                    <a:gd name="connsiteX1" fmla="*/ 814212 w 814212"/>
                    <a:gd name="connsiteY1" fmla="*/ 15903 h 259620"/>
                    <a:gd name="connsiteX2" fmla="*/ 630890 w 814212"/>
                    <a:gd name="connsiteY2" fmla="*/ 259620 h 259620"/>
                    <a:gd name="connsiteX3" fmla="*/ 0 w 814212"/>
                    <a:gd name="connsiteY3" fmla="*/ 254043 h 259620"/>
                    <a:gd name="connsiteX4" fmla="*/ 188843 w 814212"/>
                    <a:gd name="connsiteY4" fmla="*/ 0 h 259620"/>
                    <a:gd name="connsiteX0" fmla="*/ 208721 w 834090"/>
                    <a:gd name="connsiteY0" fmla="*/ 0 h 259620"/>
                    <a:gd name="connsiteX1" fmla="*/ 834090 w 834090"/>
                    <a:gd name="connsiteY1" fmla="*/ 15903 h 259620"/>
                    <a:gd name="connsiteX2" fmla="*/ 650768 w 834090"/>
                    <a:gd name="connsiteY2" fmla="*/ 259620 h 259620"/>
                    <a:gd name="connsiteX3" fmla="*/ 0 w 834090"/>
                    <a:gd name="connsiteY3" fmla="*/ 254043 h 259620"/>
                    <a:gd name="connsiteX4" fmla="*/ 208721 w 834090"/>
                    <a:gd name="connsiteY4" fmla="*/ 0 h 259620"/>
                    <a:gd name="connsiteX0" fmla="*/ 268356 w 893725"/>
                    <a:gd name="connsiteY0" fmla="*/ 0 h 259620"/>
                    <a:gd name="connsiteX1" fmla="*/ 893725 w 893725"/>
                    <a:gd name="connsiteY1" fmla="*/ 15903 h 259620"/>
                    <a:gd name="connsiteX2" fmla="*/ 710403 w 893725"/>
                    <a:gd name="connsiteY2" fmla="*/ 259620 h 259620"/>
                    <a:gd name="connsiteX3" fmla="*/ 0 w 893725"/>
                    <a:gd name="connsiteY3" fmla="*/ 254043 h 259620"/>
                    <a:gd name="connsiteX4" fmla="*/ 268356 w 893725"/>
                    <a:gd name="connsiteY4" fmla="*/ 0 h 259620"/>
                    <a:gd name="connsiteX0" fmla="*/ 260405 w 885774"/>
                    <a:gd name="connsiteY0" fmla="*/ 0 h 259620"/>
                    <a:gd name="connsiteX1" fmla="*/ 885774 w 885774"/>
                    <a:gd name="connsiteY1" fmla="*/ 15903 h 259620"/>
                    <a:gd name="connsiteX2" fmla="*/ 702452 w 885774"/>
                    <a:gd name="connsiteY2" fmla="*/ 259620 h 259620"/>
                    <a:gd name="connsiteX3" fmla="*/ 0 w 885774"/>
                    <a:gd name="connsiteY3" fmla="*/ 254043 h 259620"/>
                    <a:gd name="connsiteX4" fmla="*/ 260405 w 885774"/>
                    <a:gd name="connsiteY4" fmla="*/ 0 h 259620"/>
                    <a:gd name="connsiteX0" fmla="*/ 220648 w 885774"/>
                    <a:gd name="connsiteY0" fmla="*/ 0 h 243717"/>
                    <a:gd name="connsiteX1" fmla="*/ 885774 w 885774"/>
                    <a:gd name="connsiteY1" fmla="*/ 0 h 243717"/>
                    <a:gd name="connsiteX2" fmla="*/ 702452 w 885774"/>
                    <a:gd name="connsiteY2" fmla="*/ 243717 h 243717"/>
                    <a:gd name="connsiteX3" fmla="*/ 0 w 885774"/>
                    <a:gd name="connsiteY3" fmla="*/ 238140 h 243717"/>
                    <a:gd name="connsiteX4" fmla="*/ 220648 w 885774"/>
                    <a:gd name="connsiteY4" fmla="*/ 0 h 243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5774" h="243717">
                      <a:moveTo>
                        <a:pt x="220648" y="0"/>
                      </a:moveTo>
                      <a:lnTo>
                        <a:pt x="885774" y="0"/>
                      </a:lnTo>
                      <a:lnTo>
                        <a:pt x="702452" y="243717"/>
                      </a:lnTo>
                      <a:lnTo>
                        <a:pt x="0" y="238140"/>
                      </a:lnTo>
                      <a:lnTo>
                        <a:pt x="220648" y="0"/>
                      </a:lnTo>
                      <a:close/>
                    </a:path>
                  </a:pathLst>
                </a:custGeom>
                <a:solidFill>
                  <a:srgbClr val="FFFFFF">
                    <a:lumMod val="50000"/>
                  </a:srgbClr>
                </a:solidFill>
                <a:ln w="25400" cap="flat" cmpd="sng" algn="ctr">
                  <a:noFill/>
                  <a:prstDash val="solid"/>
                </a:ln>
                <a:effectLst>
                  <a:softEdge rad="31750"/>
                </a:effectLst>
              </p:spPr>
              <p:txBody>
                <a:bodyPr rtlCol="0" anchor="ctr"/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130" name="Groep 129"/>
                <p:cNvGrpSpPr/>
                <p:nvPr userDrawn="1"/>
              </p:nvGrpSpPr>
              <p:grpSpPr>
                <a:xfrm>
                  <a:off x="15281106" y="1587338"/>
                  <a:ext cx="511775" cy="560304"/>
                  <a:chOff x="10604642" y="969717"/>
                  <a:chExt cx="1290643" cy="1427163"/>
                </a:xfrm>
              </p:grpSpPr>
              <p:grpSp>
                <p:nvGrpSpPr>
                  <p:cNvPr id="131" name="Group 879"/>
                  <p:cNvGrpSpPr>
                    <a:grpSpLocks noChangeAspect="1"/>
                  </p:cNvGrpSpPr>
                  <p:nvPr userDrawn="1"/>
                </p:nvGrpSpPr>
                <p:grpSpPr bwMode="auto">
                  <a:xfrm>
                    <a:off x="10604642" y="969717"/>
                    <a:ext cx="1290643" cy="1427163"/>
                    <a:chOff x="4798" y="1515"/>
                    <a:chExt cx="813" cy="899"/>
                  </a:xfrm>
                </p:grpSpPr>
                <p:sp>
                  <p:nvSpPr>
                    <p:cNvPr id="133" name="Freeform 886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269" y="1515"/>
                      <a:ext cx="71" cy="898"/>
                    </a:xfrm>
                    <a:custGeom>
                      <a:avLst/>
                      <a:gdLst>
                        <a:gd name="T0" fmla="*/ 282 w 282"/>
                        <a:gd name="T1" fmla="*/ 0 h 3595"/>
                        <a:gd name="T2" fmla="*/ 282 w 282"/>
                        <a:gd name="T3" fmla="*/ 3138 h 3595"/>
                        <a:gd name="T4" fmla="*/ 0 w 282"/>
                        <a:gd name="T5" fmla="*/ 3595 h 3595"/>
                        <a:gd name="T6" fmla="*/ 0 w 282"/>
                        <a:gd name="T7" fmla="*/ 285 h 3595"/>
                        <a:gd name="T8" fmla="*/ 282 w 282"/>
                        <a:gd name="T9" fmla="*/ 0 h 35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2" h="3595">
                          <a:moveTo>
                            <a:pt x="282" y="0"/>
                          </a:moveTo>
                          <a:lnTo>
                            <a:pt x="282" y="3138"/>
                          </a:lnTo>
                          <a:lnTo>
                            <a:pt x="0" y="3595"/>
                          </a:lnTo>
                          <a:lnTo>
                            <a:pt x="0" y="285"/>
                          </a:lnTo>
                          <a:lnTo>
                            <a:pt x="282" y="0"/>
                          </a:lnTo>
                          <a:close/>
                        </a:path>
                      </a:pathLst>
                    </a:custGeom>
                    <a:solidFill>
                      <a:srgbClr val="FFC000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4" name="Rectangle 880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798" y="1515"/>
                      <a:ext cx="813" cy="899"/>
                    </a:xfrm>
                    <a:prstGeom prst="rect">
                      <a:avLst/>
                    </a:prstGeom>
                    <a:no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5" name="Rectangle 881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798" y="1857"/>
                      <a:ext cx="228" cy="557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002060"/>
                        </a:gs>
                        <a:gs pos="100000">
                          <a:srgbClr val="1929FF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6" name="Freeform 882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4798" y="1771"/>
                      <a:ext cx="314" cy="86"/>
                    </a:xfrm>
                    <a:custGeom>
                      <a:avLst/>
                      <a:gdLst>
                        <a:gd name="T0" fmla="*/ 411 w 1255"/>
                        <a:gd name="T1" fmla="*/ 0 h 342"/>
                        <a:gd name="T2" fmla="*/ 1255 w 1255"/>
                        <a:gd name="T3" fmla="*/ 0 h 342"/>
                        <a:gd name="T4" fmla="*/ 913 w 1255"/>
                        <a:gd name="T5" fmla="*/ 342 h 342"/>
                        <a:gd name="T6" fmla="*/ 0 w 1255"/>
                        <a:gd name="T7" fmla="*/ 342 h 342"/>
                        <a:gd name="T8" fmla="*/ 411 w 1255"/>
                        <a:gd name="T9" fmla="*/ 0 h 3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255" h="342">
                          <a:moveTo>
                            <a:pt x="411" y="0"/>
                          </a:moveTo>
                          <a:lnTo>
                            <a:pt x="1255" y="0"/>
                          </a:lnTo>
                          <a:lnTo>
                            <a:pt x="913" y="342"/>
                          </a:lnTo>
                          <a:lnTo>
                            <a:pt x="0" y="342"/>
                          </a:lnTo>
                          <a:lnTo>
                            <a:pt x="411" y="0"/>
                          </a:lnTo>
                          <a:close/>
                        </a:path>
                      </a:pathLst>
                    </a:custGeom>
                    <a:solidFill>
                      <a:srgbClr val="0039AC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7" name="Freeform 883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026" y="1771"/>
                      <a:ext cx="85" cy="642"/>
                    </a:xfrm>
                    <a:custGeom>
                      <a:avLst/>
                      <a:gdLst>
                        <a:gd name="T0" fmla="*/ 342 w 342"/>
                        <a:gd name="T1" fmla="*/ 0 h 2568"/>
                        <a:gd name="T2" fmla="*/ 342 w 342"/>
                        <a:gd name="T3" fmla="*/ 2111 h 2568"/>
                        <a:gd name="T4" fmla="*/ 0 w 342"/>
                        <a:gd name="T5" fmla="*/ 2568 h 2568"/>
                        <a:gd name="T6" fmla="*/ 0 w 342"/>
                        <a:gd name="T7" fmla="*/ 342 h 2568"/>
                        <a:gd name="T8" fmla="*/ 342 w 342"/>
                        <a:gd name="T9" fmla="*/ 0 h 25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42" h="2568">
                          <a:moveTo>
                            <a:pt x="342" y="0"/>
                          </a:moveTo>
                          <a:lnTo>
                            <a:pt x="342" y="2111"/>
                          </a:lnTo>
                          <a:lnTo>
                            <a:pt x="0" y="2568"/>
                          </a:lnTo>
                          <a:lnTo>
                            <a:pt x="0" y="342"/>
                          </a:lnTo>
                          <a:lnTo>
                            <a:pt x="342" y="0"/>
                          </a:lnTo>
                          <a:close/>
                        </a:path>
                      </a:pathLst>
                    </a:custGeom>
                    <a:solidFill>
                      <a:srgbClr val="000075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8" name="Freeform 884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054" y="1515"/>
                      <a:ext cx="286" cy="72"/>
                    </a:xfrm>
                    <a:custGeom>
                      <a:avLst/>
                      <a:gdLst>
                        <a:gd name="T0" fmla="*/ 318 w 1140"/>
                        <a:gd name="T1" fmla="*/ 0 h 289"/>
                        <a:gd name="T2" fmla="*/ 1140 w 1140"/>
                        <a:gd name="T3" fmla="*/ 0 h 289"/>
                        <a:gd name="T4" fmla="*/ 855 w 1140"/>
                        <a:gd name="T5" fmla="*/ 289 h 289"/>
                        <a:gd name="T6" fmla="*/ 0 w 1140"/>
                        <a:gd name="T7" fmla="*/ 289 h 289"/>
                        <a:gd name="T8" fmla="*/ 318 w 1140"/>
                        <a:gd name="T9" fmla="*/ 0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140" h="289">
                          <a:moveTo>
                            <a:pt x="318" y="0"/>
                          </a:moveTo>
                          <a:lnTo>
                            <a:pt x="1140" y="0"/>
                          </a:lnTo>
                          <a:lnTo>
                            <a:pt x="855" y="289"/>
                          </a:lnTo>
                          <a:lnTo>
                            <a:pt x="0" y="289"/>
                          </a:lnTo>
                          <a:lnTo>
                            <a:pt x="318" y="0"/>
                          </a:lnTo>
                          <a:close/>
                        </a:path>
                      </a:pathLst>
                    </a:custGeom>
                    <a:solidFill>
                      <a:srgbClr val="EEFF26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9" name="Rectangle 885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054" y="1587"/>
                      <a:ext cx="215" cy="827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FFC000"/>
                        </a:gs>
                        <a:gs pos="100000">
                          <a:srgbClr val="FFFF00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40" name="Rectangle 887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298" y="1771"/>
                      <a:ext cx="228" cy="643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B80004"/>
                        </a:gs>
                        <a:gs pos="100000">
                          <a:srgbClr val="FF0000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41" name="Freeform 888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526" y="1686"/>
                      <a:ext cx="85" cy="727"/>
                    </a:xfrm>
                    <a:custGeom>
                      <a:avLst/>
                      <a:gdLst>
                        <a:gd name="T0" fmla="*/ 342 w 342"/>
                        <a:gd name="T1" fmla="*/ 0 h 2911"/>
                        <a:gd name="T2" fmla="*/ 342 w 342"/>
                        <a:gd name="T3" fmla="*/ 2477 h 2911"/>
                        <a:gd name="T4" fmla="*/ 0 w 342"/>
                        <a:gd name="T5" fmla="*/ 2911 h 2911"/>
                        <a:gd name="T6" fmla="*/ 0 w 342"/>
                        <a:gd name="T7" fmla="*/ 334 h 2911"/>
                        <a:gd name="T8" fmla="*/ 342 w 342"/>
                        <a:gd name="T9" fmla="*/ 0 h 29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42" h="2911">
                          <a:moveTo>
                            <a:pt x="342" y="0"/>
                          </a:moveTo>
                          <a:lnTo>
                            <a:pt x="342" y="2477"/>
                          </a:lnTo>
                          <a:lnTo>
                            <a:pt x="0" y="2911"/>
                          </a:lnTo>
                          <a:lnTo>
                            <a:pt x="0" y="334"/>
                          </a:lnTo>
                          <a:lnTo>
                            <a:pt x="342" y="0"/>
                          </a:lnTo>
                          <a:close/>
                        </a:path>
                      </a:pathLst>
                    </a:custGeom>
                    <a:solidFill>
                      <a:srgbClr val="C2001B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</p:grpSp>
              <p:sp>
                <p:nvSpPr>
                  <p:cNvPr id="132" name="Vrije vorm 131"/>
                  <p:cNvSpPr/>
                  <p:nvPr userDrawn="1"/>
                </p:nvSpPr>
                <p:spPr>
                  <a:xfrm>
                    <a:off x="11389225" y="1241176"/>
                    <a:ext cx="506025" cy="137883"/>
                  </a:xfrm>
                  <a:custGeom>
                    <a:avLst/>
                    <a:gdLst>
                      <a:gd name="connsiteX0" fmla="*/ 0 w 508407"/>
                      <a:gd name="connsiteY0" fmla="*/ 142646 h 146304"/>
                      <a:gd name="connsiteX1" fmla="*/ 369418 w 508407"/>
                      <a:gd name="connsiteY1" fmla="*/ 146304 h 146304"/>
                      <a:gd name="connsiteX2" fmla="*/ 508407 w 508407"/>
                      <a:gd name="connsiteY2" fmla="*/ 0 h 146304"/>
                      <a:gd name="connsiteX3" fmla="*/ 168250 w 508407"/>
                      <a:gd name="connsiteY3" fmla="*/ 0 h 146304"/>
                      <a:gd name="connsiteX4" fmla="*/ 0 w 508407"/>
                      <a:gd name="connsiteY4" fmla="*/ 142646 h 146304"/>
                      <a:gd name="connsiteX0" fmla="*/ 0 w 508407"/>
                      <a:gd name="connsiteY0" fmla="*/ 142646 h 142646"/>
                      <a:gd name="connsiteX1" fmla="*/ 376562 w 508407"/>
                      <a:gd name="connsiteY1" fmla="*/ 136779 h 142646"/>
                      <a:gd name="connsiteX2" fmla="*/ 508407 w 508407"/>
                      <a:gd name="connsiteY2" fmla="*/ 0 h 142646"/>
                      <a:gd name="connsiteX3" fmla="*/ 168250 w 508407"/>
                      <a:gd name="connsiteY3" fmla="*/ 0 h 142646"/>
                      <a:gd name="connsiteX4" fmla="*/ 0 w 508407"/>
                      <a:gd name="connsiteY4" fmla="*/ 142646 h 142646"/>
                      <a:gd name="connsiteX0" fmla="*/ 0 w 506025"/>
                      <a:gd name="connsiteY0" fmla="*/ 137883 h 137883"/>
                      <a:gd name="connsiteX1" fmla="*/ 374180 w 506025"/>
                      <a:gd name="connsiteY1" fmla="*/ 136779 h 137883"/>
                      <a:gd name="connsiteX2" fmla="*/ 506025 w 506025"/>
                      <a:gd name="connsiteY2" fmla="*/ 0 h 137883"/>
                      <a:gd name="connsiteX3" fmla="*/ 165868 w 506025"/>
                      <a:gd name="connsiteY3" fmla="*/ 0 h 137883"/>
                      <a:gd name="connsiteX4" fmla="*/ 0 w 506025"/>
                      <a:gd name="connsiteY4" fmla="*/ 137883 h 1378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6025" h="137883">
                        <a:moveTo>
                          <a:pt x="0" y="137883"/>
                        </a:moveTo>
                        <a:lnTo>
                          <a:pt x="374180" y="136779"/>
                        </a:lnTo>
                        <a:lnTo>
                          <a:pt x="506025" y="0"/>
                        </a:lnTo>
                        <a:lnTo>
                          <a:pt x="165868" y="0"/>
                        </a:lnTo>
                        <a:lnTo>
                          <a:pt x="0" y="137883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  <p:grpSp>
            <p:nvGrpSpPr>
              <p:cNvPr id="113" name="Groep 112"/>
              <p:cNvGrpSpPr/>
              <p:nvPr/>
            </p:nvGrpSpPr>
            <p:grpSpPr>
              <a:xfrm>
                <a:off x="12468521" y="6356844"/>
                <a:ext cx="133446" cy="114786"/>
                <a:chOff x="14587469" y="6356844"/>
                <a:chExt cx="133446" cy="114786"/>
              </a:xfrm>
            </p:grpSpPr>
            <p:sp>
              <p:nvSpPr>
                <p:cNvPr id="119" name="Rectangle 6"/>
                <p:cNvSpPr>
                  <a:spLocks noChangeArrowheads="1"/>
                </p:cNvSpPr>
                <p:nvPr userDrawn="1"/>
              </p:nvSpPr>
              <p:spPr bwMode="auto">
                <a:xfrm>
                  <a:off x="14588703" y="6379233"/>
                  <a:ext cx="130780" cy="91699"/>
                </a:xfrm>
                <a:prstGeom prst="rect">
                  <a:avLst/>
                </a:prstGeom>
                <a:solidFill>
                  <a:srgbClr val="F2FAFF"/>
                </a:solidFill>
                <a:ln w="0">
                  <a:solidFill>
                    <a:schemeClr val="bg2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0" name="Rectangle 15"/>
                <p:cNvSpPr>
                  <a:spLocks noChangeArrowheads="1"/>
                </p:cNvSpPr>
                <p:nvPr userDrawn="1"/>
              </p:nvSpPr>
              <p:spPr bwMode="auto">
                <a:xfrm>
                  <a:off x="14587469" y="6423761"/>
                  <a:ext cx="131076" cy="1446"/>
                </a:xfrm>
                <a:prstGeom prst="rect">
                  <a:avLst/>
                </a:prstGeom>
                <a:gradFill flip="none" rotWithShape="1">
                  <a:gsLst>
                    <a:gs pos="20000">
                      <a:srgbClr val="0039AC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1" name="Freeform 14"/>
                <p:cNvSpPr>
                  <a:spLocks noEditPoints="1"/>
                </p:cNvSpPr>
                <p:nvPr userDrawn="1"/>
              </p:nvSpPr>
              <p:spPr bwMode="auto">
                <a:xfrm>
                  <a:off x="14588901" y="6356844"/>
                  <a:ext cx="132014" cy="114786"/>
                </a:xfrm>
                <a:custGeom>
                  <a:avLst/>
                  <a:gdLst>
                    <a:gd name="T0" fmla="*/ 48 w 5347"/>
                    <a:gd name="T1" fmla="*/ 48 h 4605"/>
                    <a:gd name="T2" fmla="*/ 48 w 5347"/>
                    <a:gd name="T3" fmla="*/ 4557 h 4605"/>
                    <a:gd name="T4" fmla="*/ 5299 w 5347"/>
                    <a:gd name="T5" fmla="*/ 4557 h 4605"/>
                    <a:gd name="T6" fmla="*/ 5299 w 5347"/>
                    <a:gd name="T7" fmla="*/ 48 h 4605"/>
                    <a:gd name="T8" fmla="*/ 48 w 5347"/>
                    <a:gd name="T9" fmla="*/ 48 h 4605"/>
                    <a:gd name="T10" fmla="*/ 0 w 5347"/>
                    <a:gd name="T11" fmla="*/ 0 h 4605"/>
                    <a:gd name="T12" fmla="*/ 5347 w 5347"/>
                    <a:gd name="T13" fmla="*/ 0 h 4605"/>
                    <a:gd name="T14" fmla="*/ 5347 w 5347"/>
                    <a:gd name="T15" fmla="*/ 4605 h 4605"/>
                    <a:gd name="T16" fmla="*/ 0 w 5347"/>
                    <a:gd name="T17" fmla="*/ 4605 h 4605"/>
                    <a:gd name="T18" fmla="*/ 0 w 5347"/>
                    <a:gd name="T19" fmla="*/ 0 h 46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47" h="4605">
                      <a:moveTo>
                        <a:pt x="48" y="48"/>
                      </a:moveTo>
                      <a:lnTo>
                        <a:pt x="48" y="4557"/>
                      </a:lnTo>
                      <a:lnTo>
                        <a:pt x="5299" y="4557"/>
                      </a:lnTo>
                      <a:lnTo>
                        <a:pt x="5299" y="48"/>
                      </a:lnTo>
                      <a:lnTo>
                        <a:pt x="48" y="48"/>
                      </a:lnTo>
                      <a:close/>
                      <a:moveTo>
                        <a:pt x="0" y="0"/>
                      </a:moveTo>
                      <a:lnTo>
                        <a:pt x="5347" y="0"/>
                      </a:lnTo>
                      <a:lnTo>
                        <a:pt x="5347" y="4605"/>
                      </a:lnTo>
                      <a:lnTo>
                        <a:pt x="0" y="460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E5D8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cxnSp>
              <p:nvCxnSpPr>
                <p:cNvPr id="122" name="Rechte verbindingslijn 121"/>
                <p:cNvCxnSpPr/>
                <p:nvPr userDrawn="1"/>
              </p:nvCxnSpPr>
              <p:spPr>
                <a:xfrm flipH="1">
                  <a:off x="14654334" y="6382168"/>
                  <a:ext cx="162" cy="8649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Rechte verbindingslijn 122"/>
                <p:cNvCxnSpPr/>
                <p:nvPr userDrawn="1"/>
              </p:nvCxnSpPr>
              <p:spPr>
                <a:xfrm>
                  <a:off x="14689188" y="6382168"/>
                  <a:ext cx="0" cy="8649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Rechte verbindingslijn 123"/>
                <p:cNvCxnSpPr/>
                <p:nvPr userDrawn="1"/>
              </p:nvCxnSpPr>
              <p:spPr>
                <a:xfrm>
                  <a:off x="14619892" y="6382040"/>
                  <a:ext cx="0" cy="8577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Rechte verbindingslijn 124"/>
                <p:cNvCxnSpPr/>
                <p:nvPr userDrawn="1"/>
              </p:nvCxnSpPr>
              <p:spPr>
                <a:xfrm flipH="1">
                  <a:off x="14593115" y="6400164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" name="Rechte verbindingslijn 125"/>
                <p:cNvCxnSpPr/>
                <p:nvPr userDrawn="1"/>
              </p:nvCxnSpPr>
              <p:spPr>
                <a:xfrm flipH="1">
                  <a:off x="14593115" y="6423860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Rechte verbindingslijn 126"/>
                <p:cNvCxnSpPr/>
                <p:nvPr userDrawn="1"/>
              </p:nvCxnSpPr>
              <p:spPr>
                <a:xfrm flipH="1">
                  <a:off x="14593115" y="6447556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8" name="Rectangle 13"/>
                <p:cNvSpPr>
                  <a:spLocks noChangeArrowheads="1"/>
                </p:cNvSpPr>
                <p:nvPr userDrawn="1"/>
              </p:nvSpPr>
              <p:spPr bwMode="auto">
                <a:xfrm>
                  <a:off x="14590283" y="6359138"/>
                  <a:ext cx="128657" cy="19347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1929FF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14" name="Groep 113"/>
              <p:cNvGrpSpPr/>
              <p:nvPr/>
            </p:nvGrpSpPr>
            <p:grpSpPr>
              <a:xfrm>
                <a:off x="12529899" y="6421402"/>
                <a:ext cx="97399" cy="97399"/>
                <a:chOff x="14546483" y="5323041"/>
                <a:chExt cx="242460" cy="242460"/>
              </a:xfrm>
            </p:grpSpPr>
            <p:sp>
              <p:nvSpPr>
                <p:cNvPr id="115" name="Rechthoek 114"/>
                <p:cNvSpPr/>
                <p:nvPr userDrawn="1"/>
              </p:nvSpPr>
              <p:spPr>
                <a:xfrm>
                  <a:off x="14546483" y="5323041"/>
                  <a:ext cx="242460" cy="242460"/>
                </a:xfrm>
                <a:prstGeom prst="rect">
                  <a:avLst/>
                </a:prstGeom>
                <a:solidFill>
                  <a:schemeClr val="bg1"/>
                </a:solidFill>
                <a:ln w="6350">
                  <a:solidFill>
                    <a:srgbClr val="00A4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116" name="Groep 115"/>
                <p:cNvGrpSpPr/>
                <p:nvPr/>
              </p:nvGrpSpPr>
              <p:grpSpPr>
                <a:xfrm>
                  <a:off x="14568035" y="5357818"/>
                  <a:ext cx="199836" cy="175226"/>
                  <a:chOff x="14559757" y="5349611"/>
                  <a:chExt cx="216392" cy="191641"/>
                </a:xfrm>
              </p:grpSpPr>
              <p:sp>
                <p:nvSpPr>
                  <p:cNvPr id="117" name="Parallellogram 116"/>
                  <p:cNvSpPr/>
                  <p:nvPr/>
                </p:nvSpPr>
                <p:spPr>
                  <a:xfrm>
                    <a:off x="14559757" y="5369222"/>
                    <a:ext cx="214316" cy="147762"/>
                  </a:xfrm>
                  <a:prstGeom prst="parallelogram">
                    <a:avLst>
                      <a:gd name="adj" fmla="val 93909"/>
                    </a:avLst>
                  </a:prstGeom>
                  <a:solidFill>
                    <a:srgbClr val="00A4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dirty="0"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18" name="Parallellogram 117"/>
                  <p:cNvSpPr/>
                  <p:nvPr/>
                </p:nvSpPr>
                <p:spPr>
                  <a:xfrm flipH="1">
                    <a:off x="14561833" y="5349611"/>
                    <a:ext cx="214316" cy="191641"/>
                  </a:xfrm>
                  <a:prstGeom prst="parallelogram">
                    <a:avLst>
                      <a:gd name="adj" fmla="val 68946"/>
                    </a:avLst>
                  </a:prstGeom>
                  <a:solidFill>
                    <a:srgbClr val="00A4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dirty="0"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</p:grpSp>
        <p:sp>
          <p:nvSpPr>
            <p:cNvPr id="90" name="Rechthoek 89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GRAFIEK INVOEGEN</a:t>
              </a:r>
            </a:p>
          </p:txBody>
        </p:sp>
        <p:sp>
          <p:nvSpPr>
            <p:cNvPr id="91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Klik op het icoon om een grafiek </a:t>
              </a:r>
              <a:b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n te voegen</a:t>
              </a:r>
            </a:p>
          </p:txBody>
        </p:sp>
        <p:sp>
          <p:nvSpPr>
            <p:cNvPr id="92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eer de grafiek die u wilt </a:t>
              </a:r>
              <a:b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nvoegen en klik op </a:t>
              </a:r>
              <a:r>
                <a:rPr lang="nl-NL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Invoegen’</a:t>
              </a:r>
            </a:p>
          </p:txBody>
        </p:sp>
        <p:sp>
          <p:nvSpPr>
            <p:cNvPr id="93" name="Ovaal 92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94" name="Ovaal 93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95" name="Rechte verbindingslijn 94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6" name="Rechte verbindingslijn 95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7" name="Rechte verbindingslijn 96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8" name="Tekstvak 33"/>
            <p:cNvSpPr txBox="1"/>
            <p:nvPr/>
          </p:nvSpPr>
          <p:spPr>
            <a:xfrm>
              <a:off x="12479311" y="5259838"/>
              <a:ext cx="2588841" cy="447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eer de grafiek, klik op de rechter muisknop en kies </a:t>
              </a:r>
              <a:r>
                <a:rPr lang="nl-NL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Gegevens bewerken’</a:t>
              </a:r>
            </a:p>
          </p:txBody>
        </p:sp>
        <p:cxnSp>
          <p:nvCxnSpPr>
            <p:cNvPr id="99" name="Rechte verbindingslijn 98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100" name="Groep 99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104" name="Afgeronde rechthoek 103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/>
              </a:p>
            </p:txBody>
          </p:sp>
          <p:sp>
            <p:nvSpPr>
              <p:cNvPr id="105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 dirty="0"/>
                  <a:t>Invoegen</a:t>
                </a:r>
              </a:p>
            </p:txBody>
          </p:sp>
          <p:cxnSp>
            <p:nvCxnSpPr>
              <p:cNvPr id="106" name="Rechte verbindingslijn 105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7" name="Gelijkbenige driehoek 106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/>
              </a:p>
            </p:txBody>
          </p:sp>
        </p:grpSp>
        <p:sp>
          <p:nvSpPr>
            <p:cNvPr id="101" name="Rechthoek 100"/>
            <p:cNvSpPr/>
            <p:nvPr/>
          </p:nvSpPr>
          <p:spPr>
            <a:xfrm>
              <a:off x="12483705" y="4856599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GRAFIEK BEWERKEN</a:t>
              </a:r>
            </a:p>
          </p:txBody>
        </p:sp>
        <p:cxnSp>
          <p:nvCxnSpPr>
            <p:cNvPr id="102" name="Rechte verbindingslijn 101"/>
            <p:cNvCxnSpPr/>
            <p:nvPr/>
          </p:nvCxnSpPr>
          <p:spPr>
            <a:xfrm>
              <a:off x="12487778" y="5145063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103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54186" y="6395104"/>
              <a:ext cx="158644" cy="2564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25976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Tabel (50%/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 dirty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 dirty="0"/>
              <a:t>Tekst + Tabel (50%/50%)</a:t>
            </a:r>
            <a:endParaRPr lang="nl-NL" dirty="0"/>
          </a:p>
        </p:txBody>
      </p:sp>
      <p:sp>
        <p:nvSpPr>
          <p:cNvPr id="86" name="Tijdelijke aanduiding voor tabel 13"/>
          <p:cNvSpPr>
            <a:spLocks noGrp="1"/>
          </p:cNvSpPr>
          <p:nvPr>
            <p:ph type="tbl" sz="quarter" idx="15"/>
          </p:nvPr>
        </p:nvSpPr>
        <p:spPr>
          <a:xfrm>
            <a:off x="6159500" y="1092201"/>
            <a:ext cx="5574625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r>
              <a:rPr lang="en-US" smtClean="0"/>
              <a:t>Click icon to add table</a:t>
            </a:r>
            <a:endParaRPr lang="nl-NL"/>
          </a:p>
        </p:txBody>
      </p:sp>
      <p:sp>
        <p:nvSpPr>
          <p:cNvPr id="84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8929" y="1092201"/>
            <a:ext cx="5286867" cy="4680000"/>
          </a:xfr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grpSp>
        <p:nvGrpSpPr>
          <p:cNvPr id="85" name="Groep 84"/>
          <p:cNvGrpSpPr/>
          <p:nvPr userDrawn="1"/>
        </p:nvGrpSpPr>
        <p:grpSpPr>
          <a:xfrm>
            <a:off x="12850330" y="21157"/>
            <a:ext cx="2609094" cy="4339920"/>
            <a:chOff x="12470972" y="-5444"/>
            <a:chExt cx="2609094" cy="4339920"/>
          </a:xfrm>
        </p:grpSpPr>
        <p:grpSp>
          <p:nvGrpSpPr>
            <p:cNvPr id="87" name="Groep 86"/>
            <p:cNvGrpSpPr/>
            <p:nvPr/>
          </p:nvGrpSpPr>
          <p:grpSpPr>
            <a:xfrm>
              <a:off x="12478620" y="1489205"/>
              <a:ext cx="615489" cy="522454"/>
              <a:chOff x="3793456" y="3603"/>
              <a:chExt cx="4527394" cy="473968"/>
            </a:xfrm>
          </p:grpSpPr>
          <p:grpSp>
            <p:nvGrpSpPr>
              <p:cNvPr id="101" name="Group 4"/>
              <p:cNvGrpSpPr>
                <a:grpSpLocks noChangeAspect="1"/>
              </p:cNvGrpSpPr>
              <p:nvPr userDrawn="1"/>
            </p:nvGrpSpPr>
            <p:grpSpPr bwMode="auto">
              <a:xfrm>
                <a:off x="3793456" y="3603"/>
                <a:ext cx="4526989" cy="473968"/>
                <a:chOff x="1782" y="145"/>
                <a:chExt cx="2674" cy="2270"/>
              </a:xfrm>
            </p:grpSpPr>
            <p:sp>
              <p:nvSpPr>
                <p:cNvPr id="108" name="Rectangle 6"/>
                <p:cNvSpPr>
                  <a:spLocks noChangeArrowheads="1"/>
                </p:cNvSpPr>
                <p:nvPr userDrawn="1"/>
              </p:nvSpPr>
              <p:spPr bwMode="auto">
                <a:xfrm>
                  <a:off x="1807" y="145"/>
                  <a:ext cx="2649" cy="2270"/>
                </a:xfrm>
                <a:prstGeom prst="rect">
                  <a:avLst/>
                </a:prstGeom>
                <a:solidFill>
                  <a:srgbClr val="F2FAFF"/>
                </a:solidFill>
                <a:ln w="0">
                  <a:solidFill>
                    <a:srgbClr val="96969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+mj-lt"/>
                  </a:endParaRPr>
                </a:p>
              </p:txBody>
            </p:sp>
            <p:sp>
              <p:nvSpPr>
                <p:cNvPr id="109" name="Rectangle 13"/>
                <p:cNvSpPr>
                  <a:spLocks noChangeArrowheads="1"/>
                </p:cNvSpPr>
                <p:nvPr userDrawn="1"/>
              </p:nvSpPr>
              <p:spPr bwMode="auto">
                <a:xfrm>
                  <a:off x="1799" y="145"/>
                  <a:ext cx="2657" cy="439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0099FF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+mj-lt"/>
                  </a:endParaRPr>
                </a:p>
              </p:txBody>
            </p:sp>
            <p:sp>
              <p:nvSpPr>
                <p:cNvPr id="110" name="Rectangle 15"/>
                <p:cNvSpPr>
                  <a:spLocks noChangeArrowheads="1"/>
                </p:cNvSpPr>
                <p:nvPr userDrawn="1"/>
              </p:nvSpPr>
              <p:spPr bwMode="auto">
                <a:xfrm>
                  <a:off x="1782" y="1469"/>
                  <a:ext cx="2655" cy="29"/>
                </a:xfrm>
                <a:prstGeom prst="rect">
                  <a:avLst/>
                </a:prstGeom>
                <a:gradFill flip="none" rotWithShape="1">
                  <a:gsLst>
                    <a:gs pos="20000">
                      <a:srgbClr val="0039AC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+mj-lt"/>
                  </a:endParaRPr>
                </a:p>
              </p:txBody>
            </p:sp>
          </p:grpSp>
          <p:cxnSp>
            <p:nvCxnSpPr>
              <p:cNvPr id="102" name="Rechte verbindingslijn 101"/>
              <p:cNvCxnSpPr/>
              <p:nvPr userDrawn="1"/>
            </p:nvCxnSpPr>
            <p:spPr>
              <a:xfrm flipH="1">
                <a:off x="6086136" y="96647"/>
                <a:ext cx="6024" cy="380674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Rechte verbindingslijn 102"/>
              <p:cNvCxnSpPr/>
              <p:nvPr userDrawn="1"/>
            </p:nvCxnSpPr>
            <p:spPr>
              <a:xfrm>
                <a:off x="7281567" y="96647"/>
                <a:ext cx="0" cy="380674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Rechte verbindingslijn 103"/>
              <p:cNvCxnSpPr/>
              <p:nvPr userDrawn="1"/>
            </p:nvCxnSpPr>
            <p:spPr>
              <a:xfrm>
                <a:off x="4905299" y="96186"/>
                <a:ext cx="0" cy="377505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Rechte verbindingslijn 104"/>
              <p:cNvCxnSpPr/>
              <p:nvPr userDrawn="1"/>
            </p:nvCxnSpPr>
            <p:spPr>
              <a:xfrm flipH="1">
                <a:off x="3836186" y="181242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Rechte verbindingslijn 105"/>
              <p:cNvCxnSpPr/>
              <p:nvPr userDrawn="1"/>
            </p:nvCxnSpPr>
            <p:spPr>
              <a:xfrm flipH="1">
                <a:off x="3836186" y="280466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Rechte verbindingslijn 106"/>
              <p:cNvCxnSpPr/>
              <p:nvPr userDrawn="1"/>
            </p:nvCxnSpPr>
            <p:spPr>
              <a:xfrm flipH="1">
                <a:off x="3836186" y="392407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8" name="Rechthoek 8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TABEL INVOEGEN</a:t>
              </a:r>
            </a:p>
          </p:txBody>
        </p:sp>
        <p:sp>
          <p:nvSpPr>
            <p:cNvPr id="89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Klik op het icoon om een tabel </a:t>
              </a:r>
              <a:b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n te voegen</a:t>
              </a:r>
            </a:p>
          </p:txBody>
        </p:sp>
        <p:sp>
          <p:nvSpPr>
            <p:cNvPr id="90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eer het aantal rijen en kolommen en klik op </a:t>
              </a:r>
              <a:r>
                <a:rPr lang="nl-NL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OK’</a:t>
              </a:r>
            </a:p>
          </p:txBody>
        </p:sp>
        <p:sp>
          <p:nvSpPr>
            <p:cNvPr id="91" name="Ovaal 90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92" name="Ovaal 91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93" name="Rechte verbindingslijn 92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4" name="Rechte verbindingslijn 93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5" name="Rechte verbindingslijn 94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6" name="Groep 95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97" name="Afgeronde rechthoek 96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/>
              </a:p>
            </p:txBody>
          </p:sp>
          <p:sp>
            <p:nvSpPr>
              <p:cNvPr id="98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 dirty="0"/>
                  <a:t>OK</a:t>
                </a:r>
              </a:p>
            </p:txBody>
          </p:sp>
          <p:cxnSp>
            <p:nvCxnSpPr>
              <p:cNvPr id="99" name="Rechte verbindingslijn 98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0" name="Gelijkbenige driehoek 99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36679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Grafiek (50%/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 dirty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 dirty="0"/>
              <a:t>Tekst + Grafiek (50%/50%)</a:t>
            </a:r>
            <a:endParaRPr lang="nl-NL" dirty="0"/>
          </a:p>
        </p:txBody>
      </p:sp>
      <p:sp>
        <p:nvSpPr>
          <p:cNvPr id="85" name="Tijdelijke aanduiding voor grafiek 13"/>
          <p:cNvSpPr>
            <a:spLocks noGrp="1"/>
          </p:cNvSpPr>
          <p:nvPr>
            <p:ph type="chart" sz="quarter" idx="16"/>
          </p:nvPr>
        </p:nvSpPr>
        <p:spPr>
          <a:xfrm>
            <a:off x="6108700" y="1092201"/>
            <a:ext cx="5625426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r>
              <a:rPr lang="en-US" smtClean="0"/>
              <a:t>Click icon to add chart</a:t>
            </a:r>
            <a:endParaRPr lang="nl-NL"/>
          </a:p>
        </p:txBody>
      </p:sp>
      <p:sp>
        <p:nvSpPr>
          <p:cNvPr id="84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8929" y="1092201"/>
            <a:ext cx="5265610" cy="4680000"/>
          </a:xfr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grpSp>
        <p:nvGrpSpPr>
          <p:cNvPr id="86" name="Groep 85"/>
          <p:cNvGrpSpPr/>
          <p:nvPr userDrawn="1"/>
        </p:nvGrpSpPr>
        <p:grpSpPr>
          <a:xfrm>
            <a:off x="12764736" y="19956"/>
            <a:ext cx="2697278" cy="6868888"/>
            <a:chOff x="12382788" y="-5444"/>
            <a:chExt cx="2697278" cy="6868888"/>
          </a:xfrm>
        </p:grpSpPr>
        <p:grpSp>
          <p:nvGrpSpPr>
            <p:cNvPr id="87" name="Groep 86"/>
            <p:cNvGrpSpPr/>
            <p:nvPr/>
          </p:nvGrpSpPr>
          <p:grpSpPr>
            <a:xfrm>
              <a:off x="12382788" y="1480224"/>
              <a:ext cx="689983" cy="573048"/>
              <a:chOff x="15171969" y="1587338"/>
              <a:chExt cx="755407" cy="627385"/>
            </a:xfrm>
          </p:grpSpPr>
          <p:sp>
            <p:nvSpPr>
              <p:cNvPr id="141" name="Rechthoek 962"/>
              <p:cNvSpPr/>
              <p:nvPr userDrawn="1"/>
            </p:nvSpPr>
            <p:spPr>
              <a:xfrm>
                <a:off x="15171969" y="2008934"/>
                <a:ext cx="755407" cy="205789"/>
              </a:xfrm>
              <a:custGeom>
                <a:avLst/>
                <a:gdLst>
                  <a:gd name="connsiteX0" fmla="*/ 0 w 664132"/>
                  <a:gd name="connsiteY0" fmla="*/ 0 h 277787"/>
                  <a:gd name="connsiteX1" fmla="*/ 664132 w 664132"/>
                  <a:gd name="connsiteY1" fmla="*/ 0 h 277787"/>
                  <a:gd name="connsiteX2" fmla="*/ 664132 w 664132"/>
                  <a:gd name="connsiteY2" fmla="*/ 277787 h 277787"/>
                  <a:gd name="connsiteX3" fmla="*/ 0 w 664132"/>
                  <a:gd name="connsiteY3" fmla="*/ 277787 h 277787"/>
                  <a:gd name="connsiteX4" fmla="*/ 0 w 664132"/>
                  <a:gd name="connsiteY4" fmla="*/ 0 h 277787"/>
                  <a:gd name="connsiteX0" fmla="*/ 0 w 664132"/>
                  <a:gd name="connsiteY0" fmla="*/ 0 h 290487"/>
                  <a:gd name="connsiteX1" fmla="*/ 664132 w 664132"/>
                  <a:gd name="connsiteY1" fmla="*/ 0 h 290487"/>
                  <a:gd name="connsiteX2" fmla="*/ 333932 w 664132"/>
                  <a:gd name="connsiteY2" fmla="*/ 290487 h 290487"/>
                  <a:gd name="connsiteX3" fmla="*/ 0 w 664132"/>
                  <a:gd name="connsiteY3" fmla="*/ 277787 h 290487"/>
                  <a:gd name="connsiteX4" fmla="*/ 0 w 664132"/>
                  <a:gd name="connsiteY4" fmla="*/ 0 h 290487"/>
                  <a:gd name="connsiteX0" fmla="*/ 0 w 664132"/>
                  <a:gd name="connsiteY0" fmla="*/ 0 h 277787"/>
                  <a:gd name="connsiteX1" fmla="*/ 664132 w 664132"/>
                  <a:gd name="connsiteY1" fmla="*/ 0 h 277787"/>
                  <a:gd name="connsiteX2" fmla="*/ 575232 w 664132"/>
                  <a:gd name="connsiteY2" fmla="*/ 271437 h 277787"/>
                  <a:gd name="connsiteX3" fmla="*/ 0 w 664132"/>
                  <a:gd name="connsiteY3" fmla="*/ 277787 h 277787"/>
                  <a:gd name="connsiteX4" fmla="*/ 0 w 664132"/>
                  <a:gd name="connsiteY4" fmla="*/ 0 h 277787"/>
                  <a:gd name="connsiteX0" fmla="*/ 0 w 708582"/>
                  <a:gd name="connsiteY0" fmla="*/ 0 h 277787"/>
                  <a:gd name="connsiteX1" fmla="*/ 708582 w 708582"/>
                  <a:gd name="connsiteY1" fmla="*/ 31750 h 277787"/>
                  <a:gd name="connsiteX2" fmla="*/ 575232 w 708582"/>
                  <a:gd name="connsiteY2" fmla="*/ 271437 h 277787"/>
                  <a:gd name="connsiteX3" fmla="*/ 0 w 708582"/>
                  <a:gd name="connsiteY3" fmla="*/ 277787 h 277787"/>
                  <a:gd name="connsiteX4" fmla="*/ 0 w 708582"/>
                  <a:gd name="connsiteY4" fmla="*/ 0 h 277787"/>
                  <a:gd name="connsiteX0" fmla="*/ 228600 w 708582"/>
                  <a:gd name="connsiteY0" fmla="*/ 6350 h 246037"/>
                  <a:gd name="connsiteX1" fmla="*/ 708582 w 708582"/>
                  <a:gd name="connsiteY1" fmla="*/ 0 h 246037"/>
                  <a:gd name="connsiteX2" fmla="*/ 575232 w 708582"/>
                  <a:gd name="connsiteY2" fmla="*/ 239687 h 246037"/>
                  <a:gd name="connsiteX3" fmla="*/ 0 w 708582"/>
                  <a:gd name="connsiteY3" fmla="*/ 246037 h 246037"/>
                  <a:gd name="connsiteX4" fmla="*/ 228600 w 708582"/>
                  <a:gd name="connsiteY4" fmla="*/ 6350 h 246037"/>
                  <a:gd name="connsiteX0" fmla="*/ 228600 w 778432"/>
                  <a:gd name="connsiteY0" fmla="*/ 0 h 239687"/>
                  <a:gd name="connsiteX1" fmla="*/ 778432 w 778432"/>
                  <a:gd name="connsiteY1" fmla="*/ 25400 h 239687"/>
                  <a:gd name="connsiteX2" fmla="*/ 575232 w 778432"/>
                  <a:gd name="connsiteY2" fmla="*/ 233337 h 239687"/>
                  <a:gd name="connsiteX3" fmla="*/ 0 w 778432"/>
                  <a:gd name="connsiteY3" fmla="*/ 239687 h 239687"/>
                  <a:gd name="connsiteX4" fmla="*/ 228600 w 778432"/>
                  <a:gd name="connsiteY4" fmla="*/ 0 h 239687"/>
                  <a:gd name="connsiteX0" fmla="*/ 228600 w 778432"/>
                  <a:gd name="connsiteY0" fmla="*/ 0 h 214287"/>
                  <a:gd name="connsiteX1" fmla="*/ 778432 w 778432"/>
                  <a:gd name="connsiteY1" fmla="*/ 0 h 214287"/>
                  <a:gd name="connsiteX2" fmla="*/ 575232 w 778432"/>
                  <a:gd name="connsiteY2" fmla="*/ 207937 h 214287"/>
                  <a:gd name="connsiteX3" fmla="*/ 0 w 778432"/>
                  <a:gd name="connsiteY3" fmla="*/ 214287 h 214287"/>
                  <a:gd name="connsiteX4" fmla="*/ 228600 w 778432"/>
                  <a:gd name="connsiteY4" fmla="*/ 0 h 214287"/>
                  <a:gd name="connsiteX0" fmla="*/ 228600 w 730724"/>
                  <a:gd name="connsiteY0" fmla="*/ 3975 h 218262"/>
                  <a:gd name="connsiteX1" fmla="*/ 730724 w 730724"/>
                  <a:gd name="connsiteY1" fmla="*/ 0 h 218262"/>
                  <a:gd name="connsiteX2" fmla="*/ 575232 w 730724"/>
                  <a:gd name="connsiteY2" fmla="*/ 211912 h 218262"/>
                  <a:gd name="connsiteX3" fmla="*/ 0 w 730724"/>
                  <a:gd name="connsiteY3" fmla="*/ 218262 h 218262"/>
                  <a:gd name="connsiteX4" fmla="*/ 228600 w 730724"/>
                  <a:gd name="connsiteY4" fmla="*/ 3975 h 218262"/>
                  <a:gd name="connsiteX0" fmla="*/ 252454 w 754578"/>
                  <a:gd name="connsiteY0" fmla="*/ 3975 h 211912"/>
                  <a:gd name="connsiteX1" fmla="*/ 754578 w 754578"/>
                  <a:gd name="connsiteY1" fmla="*/ 0 h 211912"/>
                  <a:gd name="connsiteX2" fmla="*/ 599086 w 754578"/>
                  <a:gd name="connsiteY2" fmla="*/ 211912 h 211912"/>
                  <a:gd name="connsiteX3" fmla="*/ 0 w 754578"/>
                  <a:gd name="connsiteY3" fmla="*/ 210311 h 211912"/>
                  <a:gd name="connsiteX4" fmla="*/ 252454 w 754578"/>
                  <a:gd name="connsiteY4" fmla="*/ 3975 h 211912"/>
                  <a:gd name="connsiteX0" fmla="*/ 172941 w 754578"/>
                  <a:gd name="connsiteY0" fmla="*/ 0 h 219864"/>
                  <a:gd name="connsiteX1" fmla="*/ 754578 w 754578"/>
                  <a:gd name="connsiteY1" fmla="*/ 7952 h 219864"/>
                  <a:gd name="connsiteX2" fmla="*/ 599086 w 754578"/>
                  <a:gd name="connsiteY2" fmla="*/ 219864 h 219864"/>
                  <a:gd name="connsiteX3" fmla="*/ 0 w 754578"/>
                  <a:gd name="connsiteY3" fmla="*/ 218263 h 219864"/>
                  <a:gd name="connsiteX4" fmla="*/ 172941 w 754578"/>
                  <a:gd name="connsiteY4" fmla="*/ 0 h 219864"/>
                  <a:gd name="connsiteX0" fmla="*/ 172941 w 754578"/>
                  <a:gd name="connsiteY0" fmla="*/ 0 h 223840"/>
                  <a:gd name="connsiteX1" fmla="*/ 754578 w 754578"/>
                  <a:gd name="connsiteY1" fmla="*/ 7952 h 223840"/>
                  <a:gd name="connsiteX2" fmla="*/ 654745 w 754578"/>
                  <a:gd name="connsiteY2" fmla="*/ 223840 h 223840"/>
                  <a:gd name="connsiteX3" fmla="*/ 0 w 754578"/>
                  <a:gd name="connsiteY3" fmla="*/ 218263 h 223840"/>
                  <a:gd name="connsiteX4" fmla="*/ 172941 w 754578"/>
                  <a:gd name="connsiteY4" fmla="*/ 0 h 223840"/>
                  <a:gd name="connsiteX0" fmla="*/ 172941 w 754578"/>
                  <a:gd name="connsiteY0" fmla="*/ 0 h 219864"/>
                  <a:gd name="connsiteX1" fmla="*/ 754578 w 754578"/>
                  <a:gd name="connsiteY1" fmla="*/ 7952 h 219864"/>
                  <a:gd name="connsiteX2" fmla="*/ 646793 w 754578"/>
                  <a:gd name="connsiteY2" fmla="*/ 219864 h 219864"/>
                  <a:gd name="connsiteX3" fmla="*/ 0 w 754578"/>
                  <a:gd name="connsiteY3" fmla="*/ 218263 h 219864"/>
                  <a:gd name="connsiteX4" fmla="*/ 172941 w 754578"/>
                  <a:gd name="connsiteY4" fmla="*/ 0 h 219864"/>
                  <a:gd name="connsiteX0" fmla="*/ 172941 w 818189"/>
                  <a:gd name="connsiteY0" fmla="*/ 0 h 219864"/>
                  <a:gd name="connsiteX1" fmla="*/ 818189 w 818189"/>
                  <a:gd name="connsiteY1" fmla="*/ 31806 h 219864"/>
                  <a:gd name="connsiteX2" fmla="*/ 646793 w 818189"/>
                  <a:gd name="connsiteY2" fmla="*/ 219864 h 219864"/>
                  <a:gd name="connsiteX3" fmla="*/ 0 w 818189"/>
                  <a:gd name="connsiteY3" fmla="*/ 218263 h 219864"/>
                  <a:gd name="connsiteX4" fmla="*/ 172941 w 818189"/>
                  <a:gd name="connsiteY4" fmla="*/ 0 h 219864"/>
                  <a:gd name="connsiteX0" fmla="*/ 172941 w 806262"/>
                  <a:gd name="connsiteY0" fmla="*/ 0 h 219864"/>
                  <a:gd name="connsiteX1" fmla="*/ 806262 w 806262"/>
                  <a:gd name="connsiteY1" fmla="*/ 11928 h 219864"/>
                  <a:gd name="connsiteX2" fmla="*/ 646793 w 806262"/>
                  <a:gd name="connsiteY2" fmla="*/ 219864 h 219864"/>
                  <a:gd name="connsiteX3" fmla="*/ 0 w 806262"/>
                  <a:gd name="connsiteY3" fmla="*/ 218263 h 219864"/>
                  <a:gd name="connsiteX4" fmla="*/ 172941 w 806262"/>
                  <a:gd name="connsiteY4" fmla="*/ 0 h 219864"/>
                  <a:gd name="connsiteX0" fmla="*/ 172941 w 798310"/>
                  <a:gd name="connsiteY0" fmla="*/ 0 h 219864"/>
                  <a:gd name="connsiteX1" fmla="*/ 798310 w 798310"/>
                  <a:gd name="connsiteY1" fmla="*/ 15903 h 219864"/>
                  <a:gd name="connsiteX2" fmla="*/ 646793 w 798310"/>
                  <a:gd name="connsiteY2" fmla="*/ 219864 h 219864"/>
                  <a:gd name="connsiteX3" fmla="*/ 0 w 798310"/>
                  <a:gd name="connsiteY3" fmla="*/ 218263 h 219864"/>
                  <a:gd name="connsiteX4" fmla="*/ 172941 w 798310"/>
                  <a:gd name="connsiteY4" fmla="*/ 0 h 219864"/>
                  <a:gd name="connsiteX0" fmla="*/ 172941 w 798310"/>
                  <a:gd name="connsiteY0" fmla="*/ 0 h 259620"/>
                  <a:gd name="connsiteX1" fmla="*/ 798310 w 798310"/>
                  <a:gd name="connsiteY1" fmla="*/ 15903 h 259620"/>
                  <a:gd name="connsiteX2" fmla="*/ 614988 w 798310"/>
                  <a:gd name="connsiteY2" fmla="*/ 259620 h 259620"/>
                  <a:gd name="connsiteX3" fmla="*/ 0 w 798310"/>
                  <a:gd name="connsiteY3" fmla="*/ 218263 h 259620"/>
                  <a:gd name="connsiteX4" fmla="*/ 172941 w 798310"/>
                  <a:gd name="connsiteY4" fmla="*/ 0 h 259620"/>
                  <a:gd name="connsiteX0" fmla="*/ 188843 w 814212"/>
                  <a:gd name="connsiteY0" fmla="*/ 0 h 259620"/>
                  <a:gd name="connsiteX1" fmla="*/ 814212 w 814212"/>
                  <a:gd name="connsiteY1" fmla="*/ 15903 h 259620"/>
                  <a:gd name="connsiteX2" fmla="*/ 630890 w 814212"/>
                  <a:gd name="connsiteY2" fmla="*/ 259620 h 259620"/>
                  <a:gd name="connsiteX3" fmla="*/ 0 w 814212"/>
                  <a:gd name="connsiteY3" fmla="*/ 254043 h 259620"/>
                  <a:gd name="connsiteX4" fmla="*/ 188843 w 814212"/>
                  <a:gd name="connsiteY4" fmla="*/ 0 h 259620"/>
                  <a:gd name="connsiteX0" fmla="*/ 208721 w 834090"/>
                  <a:gd name="connsiteY0" fmla="*/ 0 h 259620"/>
                  <a:gd name="connsiteX1" fmla="*/ 834090 w 834090"/>
                  <a:gd name="connsiteY1" fmla="*/ 15903 h 259620"/>
                  <a:gd name="connsiteX2" fmla="*/ 650768 w 834090"/>
                  <a:gd name="connsiteY2" fmla="*/ 259620 h 259620"/>
                  <a:gd name="connsiteX3" fmla="*/ 0 w 834090"/>
                  <a:gd name="connsiteY3" fmla="*/ 254043 h 259620"/>
                  <a:gd name="connsiteX4" fmla="*/ 208721 w 834090"/>
                  <a:gd name="connsiteY4" fmla="*/ 0 h 259620"/>
                  <a:gd name="connsiteX0" fmla="*/ 268356 w 893725"/>
                  <a:gd name="connsiteY0" fmla="*/ 0 h 259620"/>
                  <a:gd name="connsiteX1" fmla="*/ 893725 w 893725"/>
                  <a:gd name="connsiteY1" fmla="*/ 15903 h 259620"/>
                  <a:gd name="connsiteX2" fmla="*/ 710403 w 893725"/>
                  <a:gd name="connsiteY2" fmla="*/ 259620 h 259620"/>
                  <a:gd name="connsiteX3" fmla="*/ 0 w 893725"/>
                  <a:gd name="connsiteY3" fmla="*/ 254043 h 259620"/>
                  <a:gd name="connsiteX4" fmla="*/ 268356 w 893725"/>
                  <a:gd name="connsiteY4" fmla="*/ 0 h 259620"/>
                  <a:gd name="connsiteX0" fmla="*/ 260405 w 885774"/>
                  <a:gd name="connsiteY0" fmla="*/ 0 h 259620"/>
                  <a:gd name="connsiteX1" fmla="*/ 885774 w 885774"/>
                  <a:gd name="connsiteY1" fmla="*/ 15903 h 259620"/>
                  <a:gd name="connsiteX2" fmla="*/ 702452 w 885774"/>
                  <a:gd name="connsiteY2" fmla="*/ 259620 h 259620"/>
                  <a:gd name="connsiteX3" fmla="*/ 0 w 885774"/>
                  <a:gd name="connsiteY3" fmla="*/ 254043 h 259620"/>
                  <a:gd name="connsiteX4" fmla="*/ 260405 w 885774"/>
                  <a:gd name="connsiteY4" fmla="*/ 0 h 259620"/>
                  <a:gd name="connsiteX0" fmla="*/ 220648 w 885774"/>
                  <a:gd name="connsiteY0" fmla="*/ 0 h 243717"/>
                  <a:gd name="connsiteX1" fmla="*/ 885774 w 885774"/>
                  <a:gd name="connsiteY1" fmla="*/ 0 h 243717"/>
                  <a:gd name="connsiteX2" fmla="*/ 702452 w 885774"/>
                  <a:gd name="connsiteY2" fmla="*/ 243717 h 243717"/>
                  <a:gd name="connsiteX3" fmla="*/ 0 w 885774"/>
                  <a:gd name="connsiteY3" fmla="*/ 238140 h 243717"/>
                  <a:gd name="connsiteX4" fmla="*/ 220648 w 885774"/>
                  <a:gd name="connsiteY4" fmla="*/ 0 h 243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5774" h="243717">
                    <a:moveTo>
                      <a:pt x="220648" y="0"/>
                    </a:moveTo>
                    <a:lnTo>
                      <a:pt x="885774" y="0"/>
                    </a:lnTo>
                    <a:lnTo>
                      <a:pt x="702452" y="243717"/>
                    </a:lnTo>
                    <a:lnTo>
                      <a:pt x="0" y="238140"/>
                    </a:lnTo>
                    <a:lnTo>
                      <a:pt x="220648" y="0"/>
                    </a:lnTo>
                    <a:close/>
                  </a:path>
                </a:pathLst>
              </a:custGeom>
              <a:solidFill>
                <a:srgbClr val="FFFFFF">
                  <a:lumMod val="50000"/>
                </a:srgbClr>
              </a:solidFill>
              <a:ln w="25400" cap="flat" cmpd="sng" algn="ctr">
                <a:noFill/>
                <a:prstDash val="solid"/>
              </a:ln>
              <a:effectLst>
                <a:softEdge rad="31750"/>
              </a:effectLst>
            </p:spPr>
            <p:txBody>
              <a:bodyPr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42" name="Groep 141"/>
              <p:cNvGrpSpPr/>
              <p:nvPr userDrawn="1"/>
            </p:nvGrpSpPr>
            <p:grpSpPr>
              <a:xfrm>
                <a:off x="15281106" y="1587338"/>
                <a:ext cx="511775" cy="560304"/>
                <a:chOff x="10604642" y="969717"/>
                <a:chExt cx="1290643" cy="1427163"/>
              </a:xfrm>
            </p:grpSpPr>
            <p:grpSp>
              <p:nvGrpSpPr>
                <p:cNvPr id="143" name="Group 879"/>
                <p:cNvGrpSpPr>
                  <a:grpSpLocks noChangeAspect="1"/>
                </p:cNvGrpSpPr>
                <p:nvPr userDrawn="1"/>
              </p:nvGrpSpPr>
              <p:grpSpPr bwMode="auto">
                <a:xfrm>
                  <a:off x="10604642" y="969717"/>
                  <a:ext cx="1290643" cy="1427163"/>
                  <a:chOff x="4798" y="1515"/>
                  <a:chExt cx="813" cy="899"/>
                </a:xfrm>
              </p:grpSpPr>
              <p:sp>
                <p:nvSpPr>
                  <p:cNvPr id="145" name="Freeform 886"/>
                  <p:cNvSpPr>
                    <a:spLocks/>
                  </p:cNvSpPr>
                  <p:nvPr userDrawn="1"/>
                </p:nvSpPr>
                <p:spPr bwMode="auto">
                  <a:xfrm>
                    <a:off x="5269" y="1515"/>
                    <a:ext cx="71" cy="898"/>
                  </a:xfrm>
                  <a:custGeom>
                    <a:avLst/>
                    <a:gdLst>
                      <a:gd name="T0" fmla="*/ 282 w 282"/>
                      <a:gd name="T1" fmla="*/ 0 h 3595"/>
                      <a:gd name="T2" fmla="*/ 282 w 282"/>
                      <a:gd name="T3" fmla="*/ 3138 h 3595"/>
                      <a:gd name="T4" fmla="*/ 0 w 282"/>
                      <a:gd name="T5" fmla="*/ 3595 h 3595"/>
                      <a:gd name="T6" fmla="*/ 0 w 282"/>
                      <a:gd name="T7" fmla="*/ 285 h 3595"/>
                      <a:gd name="T8" fmla="*/ 282 w 282"/>
                      <a:gd name="T9" fmla="*/ 0 h 35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82" h="3595">
                        <a:moveTo>
                          <a:pt x="282" y="0"/>
                        </a:moveTo>
                        <a:lnTo>
                          <a:pt x="282" y="3138"/>
                        </a:lnTo>
                        <a:lnTo>
                          <a:pt x="0" y="3595"/>
                        </a:lnTo>
                        <a:lnTo>
                          <a:pt x="0" y="285"/>
                        </a:lnTo>
                        <a:lnTo>
                          <a:pt x="282" y="0"/>
                        </a:lnTo>
                        <a:close/>
                      </a:path>
                    </a:pathLst>
                  </a:custGeom>
                  <a:solidFill>
                    <a:srgbClr val="FFC000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6" name="Rectangle 880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798" y="1515"/>
                    <a:ext cx="813" cy="899"/>
                  </a:xfrm>
                  <a:prstGeom prst="rect">
                    <a:avLst/>
                  </a:prstGeom>
                  <a:noFill/>
                  <a:ln w="0">
                    <a:noFill/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7" name="Rectangle 881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798" y="1857"/>
                    <a:ext cx="228" cy="557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002060"/>
                      </a:gs>
                      <a:gs pos="100000">
                        <a:srgbClr val="1929FF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8" name="Freeform 882"/>
                  <p:cNvSpPr>
                    <a:spLocks/>
                  </p:cNvSpPr>
                  <p:nvPr userDrawn="1"/>
                </p:nvSpPr>
                <p:spPr bwMode="auto">
                  <a:xfrm>
                    <a:off x="4798" y="1771"/>
                    <a:ext cx="314" cy="86"/>
                  </a:xfrm>
                  <a:custGeom>
                    <a:avLst/>
                    <a:gdLst>
                      <a:gd name="T0" fmla="*/ 411 w 1255"/>
                      <a:gd name="T1" fmla="*/ 0 h 342"/>
                      <a:gd name="T2" fmla="*/ 1255 w 1255"/>
                      <a:gd name="T3" fmla="*/ 0 h 342"/>
                      <a:gd name="T4" fmla="*/ 913 w 1255"/>
                      <a:gd name="T5" fmla="*/ 342 h 342"/>
                      <a:gd name="T6" fmla="*/ 0 w 1255"/>
                      <a:gd name="T7" fmla="*/ 342 h 342"/>
                      <a:gd name="T8" fmla="*/ 411 w 1255"/>
                      <a:gd name="T9" fmla="*/ 0 h 3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255" h="342">
                        <a:moveTo>
                          <a:pt x="411" y="0"/>
                        </a:moveTo>
                        <a:lnTo>
                          <a:pt x="1255" y="0"/>
                        </a:lnTo>
                        <a:lnTo>
                          <a:pt x="913" y="342"/>
                        </a:lnTo>
                        <a:lnTo>
                          <a:pt x="0" y="342"/>
                        </a:lnTo>
                        <a:lnTo>
                          <a:pt x="411" y="0"/>
                        </a:lnTo>
                        <a:close/>
                      </a:path>
                    </a:pathLst>
                  </a:custGeom>
                  <a:solidFill>
                    <a:srgbClr val="0039AC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9" name="Freeform 883"/>
                  <p:cNvSpPr>
                    <a:spLocks/>
                  </p:cNvSpPr>
                  <p:nvPr userDrawn="1"/>
                </p:nvSpPr>
                <p:spPr bwMode="auto">
                  <a:xfrm>
                    <a:off x="5026" y="1771"/>
                    <a:ext cx="85" cy="642"/>
                  </a:xfrm>
                  <a:custGeom>
                    <a:avLst/>
                    <a:gdLst>
                      <a:gd name="T0" fmla="*/ 342 w 342"/>
                      <a:gd name="T1" fmla="*/ 0 h 2568"/>
                      <a:gd name="T2" fmla="*/ 342 w 342"/>
                      <a:gd name="T3" fmla="*/ 2111 h 2568"/>
                      <a:gd name="T4" fmla="*/ 0 w 342"/>
                      <a:gd name="T5" fmla="*/ 2568 h 2568"/>
                      <a:gd name="T6" fmla="*/ 0 w 342"/>
                      <a:gd name="T7" fmla="*/ 342 h 2568"/>
                      <a:gd name="T8" fmla="*/ 342 w 342"/>
                      <a:gd name="T9" fmla="*/ 0 h 25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2" h="2568">
                        <a:moveTo>
                          <a:pt x="342" y="0"/>
                        </a:moveTo>
                        <a:lnTo>
                          <a:pt x="342" y="2111"/>
                        </a:lnTo>
                        <a:lnTo>
                          <a:pt x="0" y="2568"/>
                        </a:lnTo>
                        <a:lnTo>
                          <a:pt x="0" y="342"/>
                        </a:lnTo>
                        <a:lnTo>
                          <a:pt x="342" y="0"/>
                        </a:lnTo>
                        <a:close/>
                      </a:path>
                    </a:pathLst>
                  </a:custGeom>
                  <a:solidFill>
                    <a:srgbClr val="000075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0" name="Freeform 884"/>
                  <p:cNvSpPr>
                    <a:spLocks/>
                  </p:cNvSpPr>
                  <p:nvPr userDrawn="1"/>
                </p:nvSpPr>
                <p:spPr bwMode="auto">
                  <a:xfrm>
                    <a:off x="5054" y="1515"/>
                    <a:ext cx="286" cy="72"/>
                  </a:xfrm>
                  <a:custGeom>
                    <a:avLst/>
                    <a:gdLst>
                      <a:gd name="T0" fmla="*/ 318 w 1140"/>
                      <a:gd name="T1" fmla="*/ 0 h 289"/>
                      <a:gd name="T2" fmla="*/ 1140 w 1140"/>
                      <a:gd name="T3" fmla="*/ 0 h 289"/>
                      <a:gd name="T4" fmla="*/ 855 w 1140"/>
                      <a:gd name="T5" fmla="*/ 289 h 289"/>
                      <a:gd name="T6" fmla="*/ 0 w 1140"/>
                      <a:gd name="T7" fmla="*/ 289 h 289"/>
                      <a:gd name="T8" fmla="*/ 318 w 1140"/>
                      <a:gd name="T9" fmla="*/ 0 h 28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40" h="289">
                        <a:moveTo>
                          <a:pt x="318" y="0"/>
                        </a:moveTo>
                        <a:lnTo>
                          <a:pt x="1140" y="0"/>
                        </a:lnTo>
                        <a:lnTo>
                          <a:pt x="855" y="289"/>
                        </a:lnTo>
                        <a:lnTo>
                          <a:pt x="0" y="289"/>
                        </a:lnTo>
                        <a:lnTo>
                          <a:pt x="318" y="0"/>
                        </a:lnTo>
                        <a:close/>
                      </a:path>
                    </a:pathLst>
                  </a:custGeom>
                  <a:solidFill>
                    <a:srgbClr val="EEFF26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1" name="Rectangle 885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5054" y="1587"/>
                    <a:ext cx="215" cy="827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FFC000"/>
                      </a:gs>
                      <a:gs pos="100000">
                        <a:srgbClr val="FFFF00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2" name="Rectangle 887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5298" y="1771"/>
                    <a:ext cx="228" cy="643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B80004"/>
                      </a:gs>
                      <a:gs pos="100000">
                        <a:srgbClr val="FF0000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3" name="Freeform 888"/>
                  <p:cNvSpPr>
                    <a:spLocks/>
                  </p:cNvSpPr>
                  <p:nvPr userDrawn="1"/>
                </p:nvSpPr>
                <p:spPr bwMode="auto">
                  <a:xfrm>
                    <a:off x="5526" y="1686"/>
                    <a:ext cx="85" cy="727"/>
                  </a:xfrm>
                  <a:custGeom>
                    <a:avLst/>
                    <a:gdLst>
                      <a:gd name="T0" fmla="*/ 342 w 342"/>
                      <a:gd name="T1" fmla="*/ 0 h 2911"/>
                      <a:gd name="T2" fmla="*/ 342 w 342"/>
                      <a:gd name="T3" fmla="*/ 2477 h 2911"/>
                      <a:gd name="T4" fmla="*/ 0 w 342"/>
                      <a:gd name="T5" fmla="*/ 2911 h 2911"/>
                      <a:gd name="T6" fmla="*/ 0 w 342"/>
                      <a:gd name="T7" fmla="*/ 334 h 2911"/>
                      <a:gd name="T8" fmla="*/ 342 w 342"/>
                      <a:gd name="T9" fmla="*/ 0 h 29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2" h="2911">
                        <a:moveTo>
                          <a:pt x="342" y="0"/>
                        </a:moveTo>
                        <a:lnTo>
                          <a:pt x="342" y="2477"/>
                        </a:lnTo>
                        <a:lnTo>
                          <a:pt x="0" y="2911"/>
                        </a:lnTo>
                        <a:lnTo>
                          <a:pt x="0" y="334"/>
                        </a:lnTo>
                        <a:lnTo>
                          <a:pt x="342" y="0"/>
                        </a:lnTo>
                        <a:close/>
                      </a:path>
                    </a:pathLst>
                  </a:custGeom>
                  <a:solidFill>
                    <a:srgbClr val="C2001B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  <p:sp>
              <p:nvSpPr>
                <p:cNvPr id="144" name="Vrije vorm 143"/>
                <p:cNvSpPr/>
                <p:nvPr userDrawn="1"/>
              </p:nvSpPr>
              <p:spPr>
                <a:xfrm>
                  <a:off x="11389225" y="1241176"/>
                  <a:ext cx="506025" cy="137883"/>
                </a:xfrm>
                <a:custGeom>
                  <a:avLst/>
                  <a:gdLst>
                    <a:gd name="connsiteX0" fmla="*/ 0 w 508407"/>
                    <a:gd name="connsiteY0" fmla="*/ 142646 h 146304"/>
                    <a:gd name="connsiteX1" fmla="*/ 369418 w 508407"/>
                    <a:gd name="connsiteY1" fmla="*/ 146304 h 146304"/>
                    <a:gd name="connsiteX2" fmla="*/ 508407 w 508407"/>
                    <a:gd name="connsiteY2" fmla="*/ 0 h 146304"/>
                    <a:gd name="connsiteX3" fmla="*/ 168250 w 508407"/>
                    <a:gd name="connsiteY3" fmla="*/ 0 h 146304"/>
                    <a:gd name="connsiteX4" fmla="*/ 0 w 508407"/>
                    <a:gd name="connsiteY4" fmla="*/ 142646 h 146304"/>
                    <a:gd name="connsiteX0" fmla="*/ 0 w 508407"/>
                    <a:gd name="connsiteY0" fmla="*/ 142646 h 142646"/>
                    <a:gd name="connsiteX1" fmla="*/ 376562 w 508407"/>
                    <a:gd name="connsiteY1" fmla="*/ 136779 h 142646"/>
                    <a:gd name="connsiteX2" fmla="*/ 508407 w 508407"/>
                    <a:gd name="connsiteY2" fmla="*/ 0 h 142646"/>
                    <a:gd name="connsiteX3" fmla="*/ 168250 w 508407"/>
                    <a:gd name="connsiteY3" fmla="*/ 0 h 142646"/>
                    <a:gd name="connsiteX4" fmla="*/ 0 w 508407"/>
                    <a:gd name="connsiteY4" fmla="*/ 142646 h 142646"/>
                    <a:gd name="connsiteX0" fmla="*/ 0 w 506025"/>
                    <a:gd name="connsiteY0" fmla="*/ 137883 h 137883"/>
                    <a:gd name="connsiteX1" fmla="*/ 374180 w 506025"/>
                    <a:gd name="connsiteY1" fmla="*/ 136779 h 137883"/>
                    <a:gd name="connsiteX2" fmla="*/ 506025 w 506025"/>
                    <a:gd name="connsiteY2" fmla="*/ 0 h 137883"/>
                    <a:gd name="connsiteX3" fmla="*/ 165868 w 506025"/>
                    <a:gd name="connsiteY3" fmla="*/ 0 h 137883"/>
                    <a:gd name="connsiteX4" fmla="*/ 0 w 506025"/>
                    <a:gd name="connsiteY4" fmla="*/ 137883 h 137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6025" h="137883">
                      <a:moveTo>
                        <a:pt x="0" y="137883"/>
                      </a:moveTo>
                      <a:lnTo>
                        <a:pt x="374180" y="136779"/>
                      </a:lnTo>
                      <a:lnTo>
                        <a:pt x="506025" y="0"/>
                      </a:lnTo>
                      <a:lnTo>
                        <a:pt x="165868" y="0"/>
                      </a:lnTo>
                      <a:lnTo>
                        <a:pt x="0" y="137883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88" name="Groep 87"/>
            <p:cNvGrpSpPr/>
            <p:nvPr/>
          </p:nvGrpSpPr>
          <p:grpSpPr>
            <a:xfrm>
              <a:off x="12487778" y="6003628"/>
              <a:ext cx="1980859" cy="542924"/>
              <a:chOff x="12390702" y="6054428"/>
              <a:chExt cx="1980859" cy="542924"/>
            </a:xfrm>
          </p:grpSpPr>
          <p:sp>
            <p:nvSpPr>
              <p:cNvPr id="107" name="Rechthoek 106"/>
              <p:cNvSpPr/>
              <p:nvPr/>
            </p:nvSpPr>
            <p:spPr>
              <a:xfrm>
                <a:off x="12402284" y="6054428"/>
                <a:ext cx="1969277" cy="54292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sp>
            <p:nvSpPr>
              <p:cNvPr id="108" name="Rechthoek 107"/>
              <p:cNvSpPr/>
              <p:nvPr/>
            </p:nvSpPr>
            <p:spPr>
              <a:xfrm>
                <a:off x="12662053" y="6062530"/>
                <a:ext cx="132760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nl-NL" sz="11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rPr>
                  <a:t>Ander grafiektype…</a:t>
                </a:r>
              </a:p>
            </p:txBody>
          </p:sp>
          <p:sp>
            <p:nvSpPr>
              <p:cNvPr id="109" name="Gelijkbenige driehoek 108"/>
              <p:cNvSpPr/>
              <p:nvPr/>
            </p:nvSpPr>
            <p:spPr>
              <a:xfrm rot="5400000">
                <a:off x="14210471" y="6150144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sp>
            <p:nvSpPr>
              <p:cNvPr id="110" name="Afgeronde rechthoek 109"/>
              <p:cNvSpPr/>
              <p:nvPr/>
            </p:nvSpPr>
            <p:spPr>
              <a:xfrm>
                <a:off x="12390702" y="6322741"/>
                <a:ext cx="1973675" cy="268314"/>
              </a:xfrm>
              <a:prstGeom prst="roundRect">
                <a:avLst/>
              </a:prstGeom>
              <a:gradFill>
                <a:gsLst>
                  <a:gs pos="0">
                    <a:srgbClr val="FFF2BD"/>
                  </a:gs>
                  <a:gs pos="34000">
                    <a:srgbClr val="FFE98B"/>
                  </a:gs>
                  <a:gs pos="78000">
                    <a:srgbClr val="FFF5C9"/>
                  </a:gs>
                  <a:gs pos="59000">
                    <a:srgbClr val="FFE98B"/>
                  </a:gs>
                </a:gsLst>
                <a:lin ang="5400000" scaled="0"/>
              </a:gradFill>
              <a:ln w="6350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000" rtlCol="0" anchor="ctr"/>
              <a:lstStyle/>
              <a:p>
                <a:r>
                  <a:rPr lang="nl-NL" sz="1200" dirty="0">
                    <a:solidFill>
                      <a:schemeClr val="tx1"/>
                    </a:solidFill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rPr>
                  <a:t>Gegevens bewerken…</a:t>
                </a:r>
              </a:p>
            </p:txBody>
          </p:sp>
          <p:grpSp>
            <p:nvGrpSpPr>
              <p:cNvPr id="111" name="Groep 110"/>
              <p:cNvGrpSpPr/>
              <p:nvPr/>
            </p:nvGrpSpPr>
            <p:grpSpPr>
              <a:xfrm>
                <a:off x="12461788" y="6100223"/>
                <a:ext cx="204691" cy="170000"/>
                <a:chOff x="15171969" y="1587338"/>
                <a:chExt cx="755407" cy="627385"/>
              </a:xfrm>
            </p:grpSpPr>
            <p:sp>
              <p:nvSpPr>
                <p:cNvPr id="128" name="Rechthoek 962"/>
                <p:cNvSpPr/>
                <p:nvPr userDrawn="1"/>
              </p:nvSpPr>
              <p:spPr>
                <a:xfrm>
                  <a:off x="15171969" y="2008934"/>
                  <a:ext cx="755407" cy="205789"/>
                </a:xfrm>
                <a:custGeom>
                  <a:avLst/>
                  <a:gdLst>
                    <a:gd name="connsiteX0" fmla="*/ 0 w 664132"/>
                    <a:gd name="connsiteY0" fmla="*/ 0 h 277787"/>
                    <a:gd name="connsiteX1" fmla="*/ 664132 w 664132"/>
                    <a:gd name="connsiteY1" fmla="*/ 0 h 277787"/>
                    <a:gd name="connsiteX2" fmla="*/ 664132 w 664132"/>
                    <a:gd name="connsiteY2" fmla="*/ 277787 h 277787"/>
                    <a:gd name="connsiteX3" fmla="*/ 0 w 664132"/>
                    <a:gd name="connsiteY3" fmla="*/ 277787 h 277787"/>
                    <a:gd name="connsiteX4" fmla="*/ 0 w 664132"/>
                    <a:gd name="connsiteY4" fmla="*/ 0 h 277787"/>
                    <a:gd name="connsiteX0" fmla="*/ 0 w 664132"/>
                    <a:gd name="connsiteY0" fmla="*/ 0 h 290487"/>
                    <a:gd name="connsiteX1" fmla="*/ 664132 w 664132"/>
                    <a:gd name="connsiteY1" fmla="*/ 0 h 290487"/>
                    <a:gd name="connsiteX2" fmla="*/ 333932 w 664132"/>
                    <a:gd name="connsiteY2" fmla="*/ 290487 h 290487"/>
                    <a:gd name="connsiteX3" fmla="*/ 0 w 664132"/>
                    <a:gd name="connsiteY3" fmla="*/ 277787 h 290487"/>
                    <a:gd name="connsiteX4" fmla="*/ 0 w 664132"/>
                    <a:gd name="connsiteY4" fmla="*/ 0 h 290487"/>
                    <a:gd name="connsiteX0" fmla="*/ 0 w 664132"/>
                    <a:gd name="connsiteY0" fmla="*/ 0 h 277787"/>
                    <a:gd name="connsiteX1" fmla="*/ 664132 w 664132"/>
                    <a:gd name="connsiteY1" fmla="*/ 0 h 277787"/>
                    <a:gd name="connsiteX2" fmla="*/ 575232 w 664132"/>
                    <a:gd name="connsiteY2" fmla="*/ 271437 h 277787"/>
                    <a:gd name="connsiteX3" fmla="*/ 0 w 664132"/>
                    <a:gd name="connsiteY3" fmla="*/ 277787 h 277787"/>
                    <a:gd name="connsiteX4" fmla="*/ 0 w 664132"/>
                    <a:gd name="connsiteY4" fmla="*/ 0 h 277787"/>
                    <a:gd name="connsiteX0" fmla="*/ 0 w 708582"/>
                    <a:gd name="connsiteY0" fmla="*/ 0 h 277787"/>
                    <a:gd name="connsiteX1" fmla="*/ 708582 w 708582"/>
                    <a:gd name="connsiteY1" fmla="*/ 31750 h 277787"/>
                    <a:gd name="connsiteX2" fmla="*/ 575232 w 708582"/>
                    <a:gd name="connsiteY2" fmla="*/ 271437 h 277787"/>
                    <a:gd name="connsiteX3" fmla="*/ 0 w 708582"/>
                    <a:gd name="connsiteY3" fmla="*/ 277787 h 277787"/>
                    <a:gd name="connsiteX4" fmla="*/ 0 w 708582"/>
                    <a:gd name="connsiteY4" fmla="*/ 0 h 277787"/>
                    <a:gd name="connsiteX0" fmla="*/ 228600 w 708582"/>
                    <a:gd name="connsiteY0" fmla="*/ 6350 h 246037"/>
                    <a:gd name="connsiteX1" fmla="*/ 708582 w 708582"/>
                    <a:gd name="connsiteY1" fmla="*/ 0 h 246037"/>
                    <a:gd name="connsiteX2" fmla="*/ 575232 w 708582"/>
                    <a:gd name="connsiteY2" fmla="*/ 239687 h 246037"/>
                    <a:gd name="connsiteX3" fmla="*/ 0 w 708582"/>
                    <a:gd name="connsiteY3" fmla="*/ 246037 h 246037"/>
                    <a:gd name="connsiteX4" fmla="*/ 228600 w 708582"/>
                    <a:gd name="connsiteY4" fmla="*/ 6350 h 246037"/>
                    <a:gd name="connsiteX0" fmla="*/ 228600 w 778432"/>
                    <a:gd name="connsiteY0" fmla="*/ 0 h 239687"/>
                    <a:gd name="connsiteX1" fmla="*/ 778432 w 778432"/>
                    <a:gd name="connsiteY1" fmla="*/ 25400 h 239687"/>
                    <a:gd name="connsiteX2" fmla="*/ 575232 w 778432"/>
                    <a:gd name="connsiteY2" fmla="*/ 233337 h 239687"/>
                    <a:gd name="connsiteX3" fmla="*/ 0 w 778432"/>
                    <a:gd name="connsiteY3" fmla="*/ 239687 h 239687"/>
                    <a:gd name="connsiteX4" fmla="*/ 228600 w 778432"/>
                    <a:gd name="connsiteY4" fmla="*/ 0 h 239687"/>
                    <a:gd name="connsiteX0" fmla="*/ 228600 w 778432"/>
                    <a:gd name="connsiteY0" fmla="*/ 0 h 214287"/>
                    <a:gd name="connsiteX1" fmla="*/ 778432 w 778432"/>
                    <a:gd name="connsiteY1" fmla="*/ 0 h 214287"/>
                    <a:gd name="connsiteX2" fmla="*/ 575232 w 778432"/>
                    <a:gd name="connsiteY2" fmla="*/ 207937 h 214287"/>
                    <a:gd name="connsiteX3" fmla="*/ 0 w 778432"/>
                    <a:gd name="connsiteY3" fmla="*/ 214287 h 214287"/>
                    <a:gd name="connsiteX4" fmla="*/ 228600 w 778432"/>
                    <a:gd name="connsiteY4" fmla="*/ 0 h 214287"/>
                    <a:gd name="connsiteX0" fmla="*/ 228600 w 730724"/>
                    <a:gd name="connsiteY0" fmla="*/ 3975 h 218262"/>
                    <a:gd name="connsiteX1" fmla="*/ 730724 w 730724"/>
                    <a:gd name="connsiteY1" fmla="*/ 0 h 218262"/>
                    <a:gd name="connsiteX2" fmla="*/ 575232 w 730724"/>
                    <a:gd name="connsiteY2" fmla="*/ 211912 h 218262"/>
                    <a:gd name="connsiteX3" fmla="*/ 0 w 730724"/>
                    <a:gd name="connsiteY3" fmla="*/ 218262 h 218262"/>
                    <a:gd name="connsiteX4" fmla="*/ 228600 w 730724"/>
                    <a:gd name="connsiteY4" fmla="*/ 3975 h 218262"/>
                    <a:gd name="connsiteX0" fmla="*/ 252454 w 754578"/>
                    <a:gd name="connsiteY0" fmla="*/ 3975 h 211912"/>
                    <a:gd name="connsiteX1" fmla="*/ 754578 w 754578"/>
                    <a:gd name="connsiteY1" fmla="*/ 0 h 211912"/>
                    <a:gd name="connsiteX2" fmla="*/ 599086 w 754578"/>
                    <a:gd name="connsiteY2" fmla="*/ 211912 h 211912"/>
                    <a:gd name="connsiteX3" fmla="*/ 0 w 754578"/>
                    <a:gd name="connsiteY3" fmla="*/ 210311 h 211912"/>
                    <a:gd name="connsiteX4" fmla="*/ 252454 w 754578"/>
                    <a:gd name="connsiteY4" fmla="*/ 3975 h 211912"/>
                    <a:gd name="connsiteX0" fmla="*/ 172941 w 754578"/>
                    <a:gd name="connsiteY0" fmla="*/ 0 h 219864"/>
                    <a:gd name="connsiteX1" fmla="*/ 754578 w 754578"/>
                    <a:gd name="connsiteY1" fmla="*/ 7952 h 219864"/>
                    <a:gd name="connsiteX2" fmla="*/ 599086 w 754578"/>
                    <a:gd name="connsiteY2" fmla="*/ 219864 h 219864"/>
                    <a:gd name="connsiteX3" fmla="*/ 0 w 754578"/>
                    <a:gd name="connsiteY3" fmla="*/ 218263 h 219864"/>
                    <a:gd name="connsiteX4" fmla="*/ 172941 w 754578"/>
                    <a:gd name="connsiteY4" fmla="*/ 0 h 219864"/>
                    <a:gd name="connsiteX0" fmla="*/ 172941 w 754578"/>
                    <a:gd name="connsiteY0" fmla="*/ 0 h 223840"/>
                    <a:gd name="connsiteX1" fmla="*/ 754578 w 754578"/>
                    <a:gd name="connsiteY1" fmla="*/ 7952 h 223840"/>
                    <a:gd name="connsiteX2" fmla="*/ 654745 w 754578"/>
                    <a:gd name="connsiteY2" fmla="*/ 223840 h 223840"/>
                    <a:gd name="connsiteX3" fmla="*/ 0 w 754578"/>
                    <a:gd name="connsiteY3" fmla="*/ 218263 h 223840"/>
                    <a:gd name="connsiteX4" fmla="*/ 172941 w 754578"/>
                    <a:gd name="connsiteY4" fmla="*/ 0 h 223840"/>
                    <a:gd name="connsiteX0" fmla="*/ 172941 w 754578"/>
                    <a:gd name="connsiteY0" fmla="*/ 0 h 219864"/>
                    <a:gd name="connsiteX1" fmla="*/ 754578 w 754578"/>
                    <a:gd name="connsiteY1" fmla="*/ 7952 h 219864"/>
                    <a:gd name="connsiteX2" fmla="*/ 646793 w 754578"/>
                    <a:gd name="connsiteY2" fmla="*/ 219864 h 219864"/>
                    <a:gd name="connsiteX3" fmla="*/ 0 w 754578"/>
                    <a:gd name="connsiteY3" fmla="*/ 218263 h 219864"/>
                    <a:gd name="connsiteX4" fmla="*/ 172941 w 754578"/>
                    <a:gd name="connsiteY4" fmla="*/ 0 h 219864"/>
                    <a:gd name="connsiteX0" fmla="*/ 172941 w 818189"/>
                    <a:gd name="connsiteY0" fmla="*/ 0 h 219864"/>
                    <a:gd name="connsiteX1" fmla="*/ 818189 w 818189"/>
                    <a:gd name="connsiteY1" fmla="*/ 31806 h 219864"/>
                    <a:gd name="connsiteX2" fmla="*/ 646793 w 818189"/>
                    <a:gd name="connsiteY2" fmla="*/ 219864 h 219864"/>
                    <a:gd name="connsiteX3" fmla="*/ 0 w 818189"/>
                    <a:gd name="connsiteY3" fmla="*/ 218263 h 219864"/>
                    <a:gd name="connsiteX4" fmla="*/ 172941 w 818189"/>
                    <a:gd name="connsiteY4" fmla="*/ 0 h 219864"/>
                    <a:gd name="connsiteX0" fmla="*/ 172941 w 806262"/>
                    <a:gd name="connsiteY0" fmla="*/ 0 h 219864"/>
                    <a:gd name="connsiteX1" fmla="*/ 806262 w 806262"/>
                    <a:gd name="connsiteY1" fmla="*/ 11928 h 219864"/>
                    <a:gd name="connsiteX2" fmla="*/ 646793 w 806262"/>
                    <a:gd name="connsiteY2" fmla="*/ 219864 h 219864"/>
                    <a:gd name="connsiteX3" fmla="*/ 0 w 806262"/>
                    <a:gd name="connsiteY3" fmla="*/ 218263 h 219864"/>
                    <a:gd name="connsiteX4" fmla="*/ 172941 w 806262"/>
                    <a:gd name="connsiteY4" fmla="*/ 0 h 219864"/>
                    <a:gd name="connsiteX0" fmla="*/ 172941 w 798310"/>
                    <a:gd name="connsiteY0" fmla="*/ 0 h 219864"/>
                    <a:gd name="connsiteX1" fmla="*/ 798310 w 798310"/>
                    <a:gd name="connsiteY1" fmla="*/ 15903 h 219864"/>
                    <a:gd name="connsiteX2" fmla="*/ 646793 w 798310"/>
                    <a:gd name="connsiteY2" fmla="*/ 219864 h 219864"/>
                    <a:gd name="connsiteX3" fmla="*/ 0 w 798310"/>
                    <a:gd name="connsiteY3" fmla="*/ 218263 h 219864"/>
                    <a:gd name="connsiteX4" fmla="*/ 172941 w 798310"/>
                    <a:gd name="connsiteY4" fmla="*/ 0 h 219864"/>
                    <a:gd name="connsiteX0" fmla="*/ 172941 w 798310"/>
                    <a:gd name="connsiteY0" fmla="*/ 0 h 259620"/>
                    <a:gd name="connsiteX1" fmla="*/ 798310 w 798310"/>
                    <a:gd name="connsiteY1" fmla="*/ 15903 h 259620"/>
                    <a:gd name="connsiteX2" fmla="*/ 614988 w 798310"/>
                    <a:gd name="connsiteY2" fmla="*/ 259620 h 259620"/>
                    <a:gd name="connsiteX3" fmla="*/ 0 w 798310"/>
                    <a:gd name="connsiteY3" fmla="*/ 218263 h 259620"/>
                    <a:gd name="connsiteX4" fmla="*/ 172941 w 798310"/>
                    <a:gd name="connsiteY4" fmla="*/ 0 h 259620"/>
                    <a:gd name="connsiteX0" fmla="*/ 188843 w 814212"/>
                    <a:gd name="connsiteY0" fmla="*/ 0 h 259620"/>
                    <a:gd name="connsiteX1" fmla="*/ 814212 w 814212"/>
                    <a:gd name="connsiteY1" fmla="*/ 15903 h 259620"/>
                    <a:gd name="connsiteX2" fmla="*/ 630890 w 814212"/>
                    <a:gd name="connsiteY2" fmla="*/ 259620 h 259620"/>
                    <a:gd name="connsiteX3" fmla="*/ 0 w 814212"/>
                    <a:gd name="connsiteY3" fmla="*/ 254043 h 259620"/>
                    <a:gd name="connsiteX4" fmla="*/ 188843 w 814212"/>
                    <a:gd name="connsiteY4" fmla="*/ 0 h 259620"/>
                    <a:gd name="connsiteX0" fmla="*/ 208721 w 834090"/>
                    <a:gd name="connsiteY0" fmla="*/ 0 h 259620"/>
                    <a:gd name="connsiteX1" fmla="*/ 834090 w 834090"/>
                    <a:gd name="connsiteY1" fmla="*/ 15903 h 259620"/>
                    <a:gd name="connsiteX2" fmla="*/ 650768 w 834090"/>
                    <a:gd name="connsiteY2" fmla="*/ 259620 h 259620"/>
                    <a:gd name="connsiteX3" fmla="*/ 0 w 834090"/>
                    <a:gd name="connsiteY3" fmla="*/ 254043 h 259620"/>
                    <a:gd name="connsiteX4" fmla="*/ 208721 w 834090"/>
                    <a:gd name="connsiteY4" fmla="*/ 0 h 259620"/>
                    <a:gd name="connsiteX0" fmla="*/ 268356 w 893725"/>
                    <a:gd name="connsiteY0" fmla="*/ 0 h 259620"/>
                    <a:gd name="connsiteX1" fmla="*/ 893725 w 893725"/>
                    <a:gd name="connsiteY1" fmla="*/ 15903 h 259620"/>
                    <a:gd name="connsiteX2" fmla="*/ 710403 w 893725"/>
                    <a:gd name="connsiteY2" fmla="*/ 259620 h 259620"/>
                    <a:gd name="connsiteX3" fmla="*/ 0 w 893725"/>
                    <a:gd name="connsiteY3" fmla="*/ 254043 h 259620"/>
                    <a:gd name="connsiteX4" fmla="*/ 268356 w 893725"/>
                    <a:gd name="connsiteY4" fmla="*/ 0 h 259620"/>
                    <a:gd name="connsiteX0" fmla="*/ 260405 w 885774"/>
                    <a:gd name="connsiteY0" fmla="*/ 0 h 259620"/>
                    <a:gd name="connsiteX1" fmla="*/ 885774 w 885774"/>
                    <a:gd name="connsiteY1" fmla="*/ 15903 h 259620"/>
                    <a:gd name="connsiteX2" fmla="*/ 702452 w 885774"/>
                    <a:gd name="connsiteY2" fmla="*/ 259620 h 259620"/>
                    <a:gd name="connsiteX3" fmla="*/ 0 w 885774"/>
                    <a:gd name="connsiteY3" fmla="*/ 254043 h 259620"/>
                    <a:gd name="connsiteX4" fmla="*/ 260405 w 885774"/>
                    <a:gd name="connsiteY4" fmla="*/ 0 h 259620"/>
                    <a:gd name="connsiteX0" fmla="*/ 220648 w 885774"/>
                    <a:gd name="connsiteY0" fmla="*/ 0 h 243717"/>
                    <a:gd name="connsiteX1" fmla="*/ 885774 w 885774"/>
                    <a:gd name="connsiteY1" fmla="*/ 0 h 243717"/>
                    <a:gd name="connsiteX2" fmla="*/ 702452 w 885774"/>
                    <a:gd name="connsiteY2" fmla="*/ 243717 h 243717"/>
                    <a:gd name="connsiteX3" fmla="*/ 0 w 885774"/>
                    <a:gd name="connsiteY3" fmla="*/ 238140 h 243717"/>
                    <a:gd name="connsiteX4" fmla="*/ 220648 w 885774"/>
                    <a:gd name="connsiteY4" fmla="*/ 0 h 243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5774" h="243717">
                      <a:moveTo>
                        <a:pt x="220648" y="0"/>
                      </a:moveTo>
                      <a:lnTo>
                        <a:pt x="885774" y="0"/>
                      </a:lnTo>
                      <a:lnTo>
                        <a:pt x="702452" y="243717"/>
                      </a:lnTo>
                      <a:lnTo>
                        <a:pt x="0" y="238140"/>
                      </a:lnTo>
                      <a:lnTo>
                        <a:pt x="220648" y="0"/>
                      </a:lnTo>
                      <a:close/>
                    </a:path>
                  </a:pathLst>
                </a:custGeom>
                <a:solidFill>
                  <a:srgbClr val="FFFFFF">
                    <a:lumMod val="50000"/>
                  </a:srgbClr>
                </a:solidFill>
                <a:ln w="25400" cap="flat" cmpd="sng" algn="ctr">
                  <a:noFill/>
                  <a:prstDash val="solid"/>
                </a:ln>
                <a:effectLst>
                  <a:softEdge rad="31750"/>
                </a:effectLst>
              </p:spPr>
              <p:txBody>
                <a:bodyPr rtlCol="0" anchor="ctr"/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129" name="Groep 128"/>
                <p:cNvGrpSpPr/>
                <p:nvPr userDrawn="1"/>
              </p:nvGrpSpPr>
              <p:grpSpPr>
                <a:xfrm>
                  <a:off x="15281106" y="1587338"/>
                  <a:ext cx="511775" cy="560304"/>
                  <a:chOff x="10604642" y="969717"/>
                  <a:chExt cx="1290643" cy="1427163"/>
                </a:xfrm>
              </p:grpSpPr>
              <p:grpSp>
                <p:nvGrpSpPr>
                  <p:cNvPr id="130" name="Group 879"/>
                  <p:cNvGrpSpPr>
                    <a:grpSpLocks noChangeAspect="1"/>
                  </p:cNvGrpSpPr>
                  <p:nvPr userDrawn="1"/>
                </p:nvGrpSpPr>
                <p:grpSpPr bwMode="auto">
                  <a:xfrm>
                    <a:off x="10604642" y="969717"/>
                    <a:ext cx="1290643" cy="1427163"/>
                    <a:chOff x="4798" y="1515"/>
                    <a:chExt cx="813" cy="899"/>
                  </a:xfrm>
                </p:grpSpPr>
                <p:sp>
                  <p:nvSpPr>
                    <p:cNvPr id="132" name="Freeform 886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269" y="1515"/>
                      <a:ext cx="71" cy="898"/>
                    </a:xfrm>
                    <a:custGeom>
                      <a:avLst/>
                      <a:gdLst>
                        <a:gd name="T0" fmla="*/ 282 w 282"/>
                        <a:gd name="T1" fmla="*/ 0 h 3595"/>
                        <a:gd name="T2" fmla="*/ 282 w 282"/>
                        <a:gd name="T3" fmla="*/ 3138 h 3595"/>
                        <a:gd name="T4" fmla="*/ 0 w 282"/>
                        <a:gd name="T5" fmla="*/ 3595 h 3595"/>
                        <a:gd name="T6" fmla="*/ 0 w 282"/>
                        <a:gd name="T7" fmla="*/ 285 h 3595"/>
                        <a:gd name="T8" fmla="*/ 282 w 282"/>
                        <a:gd name="T9" fmla="*/ 0 h 35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2" h="3595">
                          <a:moveTo>
                            <a:pt x="282" y="0"/>
                          </a:moveTo>
                          <a:lnTo>
                            <a:pt x="282" y="3138"/>
                          </a:lnTo>
                          <a:lnTo>
                            <a:pt x="0" y="3595"/>
                          </a:lnTo>
                          <a:lnTo>
                            <a:pt x="0" y="285"/>
                          </a:lnTo>
                          <a:lnTo>
                            <a:pt x="282" y="0"/>
                          </a:lnTo>
                          <a:close/>
                        </a:path>
                      </a:pathLst>
                    </a:custGeom>
                    <a:solidFill>
                      <a:srgbClr val="FFC000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3" name="Rectangle 880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798" y="1515"/>
                      <a:ext cx="813" cy="899"/>
                    </a:xfrm>
                    <a:prstGeom prst="rect">
                      <a:avLst/>
                    </a:prstGeom>
                    <a:no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4" name="Rectangle 881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798" y="1857"/>
                      <a:ext cx="228" cy="557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002060"/>
                        </a:gs>
                        <a:gs pos="100000">
                          <a:srgbClr val="1929FF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5" name="Freeform 882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4798" y="1771"/>
                      <a:ext cx="314" cy="86"/>
                    </a:xfrm>
                    <a:custGeom>
                      <a:avLst/>
                      <a:gdLst>
                        <a:gd name="T0" fmla="*/ 411 w 1255"/>
                        <a:gd name="T1" fmla="*/ 0 h 342"/>
                        <a:gd name="T2" fmla="*/ 1255 w 1255"/>
                        <a:gd name="T3" fmla="*/ 0 h 342"/>
                        <a:gd name="T4" fmla="*/ 913 w 1255"/>
                        <a:gd name="T5" fmla="*/ 342 h 342"/>
                        <a:gd name="T6" fmla="*/ 0 w 1255"/>
                        <a:gd name="T7" fmla="*/ 342 h 342"/>
                        <a:gd name="T8" fmla="*/ 411 w 1255"/>
                        <a:gd name="T9" fmla="*/ 0 h 3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255" h="342">
                          <a:moveTo>
                            <a:pt x="411" y="0"/>
                          </a:moveTo>
                          <a:lnTo>
                            <a:pt x="1255" y="0"/>
                          </a:lnTo>
                          <a:lnTo>
                            <a:pt x="913" y="342"/>
                          </a:lnTo>
                          <a:lnTo>
                            <a:pt x="0" y="342"/>
                          </a:lnTo>
                          <a:lnTo>
                            <a:pt x="411" y="0"/>
                          </a:lnTo>
                          <a:close/>
                        </a:path>
                      </a:pathLst>
                    </a:custGeom>
                    <a:solidFill>
                      <a:srgbClr val="0039AC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6" name="Freeform 883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026" y="1771"/>
                      <a:ext cx="85" cy="642"/>
                    </a:xfrm>
                    <a:custGeom>
                      <a:avLst/>
                      <a:gdLst>
                        <a:gd name="T0" fmla="*/ 342 w 342"/>
                        <a:gd name="T1" fmla="*/ 0 h 2568"/>
                        <a:gd name="T2" fmla="*/ 342 w 342"/>
                        <a:gd name="T3" fmla="*/ 2111 h 2568"/>
                        <a:gd name="T4" fmla="*/ 0 w 342"/>
                        <a:gd name="T5" fmla="*/ 2568 h 2568"/>
                        <a:gd name="T6" fmla="*/ 0 w 342"/>
                        <a:gd name="T7" fmla="*/ 342 h 2568"/>
                        <a:gd name="T8" fmla="*/ 342 w 342"/>
                        <a:gd name="T9" fmla="*/ 0 h 25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42" h="2568">
                          <a:moveTo>
                            <a:pt x="342" y="0"/>
                          </a:moveTo>
                          <a:lnTo>
                            <a:pt x="342" y="2111"/>
                          </a:lnTo>
                          <a:lnTo>
                            <a:pt x="0" y="2568"/>
                          </a:lnTo>
                          <a:lnTo>
                            <a:pt x="0" y="342"/>
                          </a:lnTo>
                          <a:lnTo>
                            <a:pt x="342" y="0"/>
                          </a:lnTo>
                          <a:close/>
                        </a:path>
                      </a:pathLst>
                    </a:custGeom>
                    <a:solidFill>
                      <a:srgbClr val="000075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7" name="Freeform 884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054" y="1515"/>
                      <a:ext cx="286" cy="72"/>
                    </a:xfrm>
                    <a:custGeom>
                      <a:avLst/>
                      <a:gdLst>
                        <a:gd name="T0" fmla="*/ 318 w 1140"/>
                        <a:gd name="T1" fmla="*/ 0 h 289"/>
                        <a:gd name="T2" fmla="*/ 1140 w 1140"/>
                        <a:gd name="T3" fmla="*/ 0 h 289"/>
                        <a:gd name="T4" fmla="*/ 855 w 1140"/>
                        <a:gd name="T5" fmla="*/ 289 h 289"/>
                        <a:gd name="T6" fmla="*/ 0 w 1140"/>
                        <a:gd name="T7" fmla="*/ 289 h 289"/>
                        <a:gd name="T8" fmla="*/ 318 w 1140"/>
                        <a:gd name="T9" fmla="*/ 0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140" h="289">
                          <a:moveTo>
                            <a:pt x="318" y="0"/>
                          </a:moveTo>
                          <a:lnTo>
                            <a:pt x="1140" y="0"/>
                          </a:lnTo>
                          <a:lnTo>
                            <a:pt x="855" y="289"/>
                          </a:lnTo>
                          <a:lnTo>
                            <a:pt x="0" y="289"/>
                          </a:lnTo>
                          <a:lnTo>
                            <a:pt x="318" y="0"/>
                          </a:lnTo>
                          <a:close/>
                        </a:path>
                      </a:pathLst>
                    </a:custGeom>
                    <a:solidFill>
                      <a:srgbClr val="EEFF26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8" name="Rectangle 885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054" y="1587"/>
                      <a:ext cx="215" cy="827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FFC000"/>
                        </a:gs>
                        <a:gs pos="100000">
                          <a:srgbClr val="FFFF00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9" name="Rectangle 887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298" y="1771"/>
                      <a:ext cx="228" cy="643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B80004"/>
                        </a:gs>
                        <a:gs pos="100000">
                          <a:srgbClr val="FF0000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40" name="Freeform 888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526" y="1686"/>
                      <a:ext cx="85" cy="727"/>
                    </a:xfrm>
                    <a:custGeom>
                      <a:avLst/>
                      <a:gdLst>
                        <a:gd name="T0" fmla="*/ 342 w 342"/>
                        <a:gd name="T1" fmla="*/ 0 h 2911"/>
                        <a:gd name="T2" fmla="*/ 342 w 342"/>
                        <a:gd name="T3" fmla="*/ 2477 h 2911"/>
                        <a:gd name="T4" fmla="*/ 0 w 342"/>
                        <a:gd name="T5" fmla="*/ 2911 h 2911"/>
                        <a:gd name="T6" fmla="*/ 0 w 342"/>
                        <a:gd name="T7" fmla="*/ 334 h 2911"/>
                        <a:gd name="T8" fmla="*/ 342 w 342"/>
                        <a:gd name="T9" fmla="*/ 0 h 29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42" h="2911">
                          <a:moveTo>
                            <a:pt x="342" y="0"/>
                          </a:moveTo>
                          <a:lnTo>
                            <a:pt x="342" y="2477"/>
                          </a:lnTo>
                          <a:lnTo>
                            <a:pt x="0" y="2911"/>
                          </a:lnTo>
                          <a:lnTo>
                            <a:pt x="0" y="334"/>
                          </a:lnTo>
                          <a:lnTo>
                            <a:pt x="342" y="0"/>
                          </a:lnTo>
                          <a:close/>
                        </a:path>
                      </a:pathLst>
                    </a:custGeom>
                    <a:solidFill>
                      <a:srgbClr val="C2001B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</p:grpSp>
              <p:sp>
                <p:nvSpPr>
                  <p:cNvPr id="131" name="Vrije vorm 130"/>
                  <p:cNvSpPr/>
                  <p:nvPr userDrawn="1"/>
                </p:nvSpPr>
                <p:spPr>
                  <a:xfrm>
                    <a:off x="11389225" y="1241176"/>
                    <a:ext cx="506025" cy="137883"/>
                  </a:xfrm>
                  <a:custGeom>
                    <a:avLst/>
                    <a:gdLst>
                      <a:gd name="connsiteX0" fmla="*/ 0 w 508407"/>
                      <a:gd name="connsiteY0" fmla="*/ 142646 h 146304"/>
                      <a:gd name="connsiteX1" fmla="*/ 369418 w 508407"/>
                      <a:gd name="connsiteY1" fmla="*/ 146304 h 146304"/>
                      <a:gd name="connsiteX2" fmla="*/ 508407 w 508407"/>
                      <a:gd name="connsiteY2" fmla="*/ 0 h 146304"/>
                      <a:gd name="connsiteX3" fmla="*/ 168250 w 508407"/>
                      <a:gd name="connsiteY3" fmla="*/ 0 h 146304"/>
                      <a:gd name="connsiteX4" fmla="*/ 0 w 508407"/>
                      <a:gd name="connsiteY4" fmla="*/ 142646 h 146304"/>
                      <a:gd name="connsiteX0" fmla="*/ 0 w 508407"/>
                      <a:gd name="connsiteY0" fmla="*/ 142646 h 142646"/>
                      <a:gd name="connsiteX1" fmla="*/ 376562 w 508407"/>
                      <a:gd name="connsiteY1" fmla="*/ 136779 h 142646"/>
                      <a:gd name="connsiteX2" fmla="*/ 508407 w 508407"/>
                      <a:gd name="connsiteY2" fmla="*/ 0 h 142646"/>
                      <a:gd name="connsiteX3" fmla="*/ 168250 w 508407"/>
                      <a:gd name="connsiteY3" fmla="*/ 0 h 142646"/>
                      <a:gd name="connsiteX4" fmla="*/ 0 w 508407"/>
                      <a:gd name="connsiteY4" fmla="*/ 142646 h 142646"/>
                      <a:gd name="connsiteX0" fmla="*/ 0 w 506025"/>
                      <a:gd name="connsiteY0" fmla="*/ 137883 h 137883"/>
                      <a:gd name="connsiteX1" fmla="*/ 374180 w 506025"/>
                      <a:gd name="connsiteY1" fmla="*/ 136779 h 137883"/>
                      <a:gd name="connsiteX2" fmla="*/ 506025 w 506025"/>
                      <a:gd name="connsiteY2" fmla="*/ 0 h 137883"/>
                      <a:gd name="connsiteX3" fmla="*/ 165868 w 506025"/>
                      <a:gd name="connsiteY3" fmla="*/ 0 h 137883"/>
                      <a:gd name="connsiteX4" fmla="*/ 0 w 506025"/>
                      <a:gd name="connsiteY4" fmla="*/ 137883 h 1378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6025" h="137883">
                        <a:moveTo>
                          <a:pt x="0" y="137883"/>
                        </a:moveTo>
                        <a:lnTo>
                          <a:pt x="374180" y="136779"/>
                        </a:lnTo>
                        <a:lnTo>
                          <a:pt x="506025" y="0"/>
                        </a:lnTo>
                        <a:lnTo>
                          <a:pt x="165868" y="0"/>
                        </a:lnTo>
                        <a:lnTo>
                          <a:pt x="0" y="137883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  <p:grpSp>
            <p:nvGrpSpPr>
              <p:cNvPr id="112" name="Groep 111"/>
              <p:cNvGrpSpPr/>
              <p:nvPr/>
            </p:nvGrpSpPr>
            <p:grpSpPr>
              <a:xfrm>
                <a:off x="12468521" y="6356844"/>
                <a:ext cx="133446" cy="114786"/>
                <a:chOff x="14587469" y="6356844"/>
                <a:chExt cx="133446" cy="114786"/>
              </a:xfrm>
            </p:grpSpPr>
            <p:sp>
              <p:nvSpPr>
                <p:cNvPr id="118" name="Rectangle 6"/>
                <p:cNvSpPr>
                  <a:spLocks noChangeArrowheads="1"/>
                </p:cNvSpPr>
                <p:nvPr userDrawn="1"/>
              </p:nvSpPr>
              <p:spPr bwMode="auto">
                <a:xfrm>
                  <a:off x="14588703" y="6379233"/>
                  <a:ext cx="130780" cy="91699"/>
                </a:xfrm>
                <a:prstGeom prst="rect">
                  <a:avLst/>
                </a:prstGeom>
                <a:solidFill>
                  <a:srgbClr val="F2FAFF"/>
                </a:solidFill>
                <a:ln w="0">
                  <a:solidFill>
                    <a:schemeClr val="bg2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19" name="Rectangle 15"/>
                <p:cNvSpPr>
                  <a:spLocks noChangeArrowheads="1"/>
                </p:cNvSpPr>
                <p:nvPr userDrawn="1"/>
              </p:nvSpPr>
              <p:spPr bwMode="auto">
                <a:xfrm>
                  <a:off x="14587469" y="6423761"/>
                  <a:ext cx="131076" cy="1446"/>
                </a:xfrm>
                <a:prstGeom prst="rect">
                  <a:avLst/>
                </a:prstGeom>
                <a:gradFill flip="none" rotWithShape="1">
                  <a:gsLst>
                    <a:gs pos="20000">
                      <a:srgbClr val="0039AC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0" name="Freeform 14"/>
                <p:cNvSpPr>
                  <a:spLocks noEditPoints="1"/>
                </p:cNvSpPr>
                <p:nvPr userDrawn="1"/>
              </p:nvSpPr>
              <p:spPr bwMode="auto">
                <a:xfrm>
                  <a:off x="14588901" y="6356844"/>
                  <a:ext cx="132014" cy="114786"/>
                </a:xfrm>
                <a:custGeom>
                  <a:avLst/>
                  <a:gdLst>
                    <a:gd name="T0" fmla="*/ 48 w 5347"/>
                    <a:gd name="T1" fmla="*/ 48 h 4605"/>
                    <a:gd name="T2" fmla="*/ 48 w 5347"/>
                    <a:gd name="T3" fmla="*/ 4557 h 4605"/>
                    <a:gd name="T4" fmla="*/ 5299 w 5347"/>
                    <a:gd name="T5" fmla="*/ 4557 h 4605"/>
                    <a:gd name="T6" fmla="*/ 5299 w 5347"/>
                    <a:gd name="T7" fmla="*/ 48 h 4605"/>
                    <a:gd name="T8" fmla="*/ 48 w 5347"/>
                    <a:gd name="T9" fmla="*/ 48 h 4605"/>
                    <a:gd name="T10" fmla="*/ 0 w 5347"/>
                    <a:gd name="T11" fmla="*/ 0 h 4605"/>
                    <a:gd name="T12" fmla="*/ 5347 w 5347"/>
                    <a:gd name="T13" fmla="*/ 0 h 4605"/>
                    <a:gd name="T14" fmla="*/ 5347 w 5347"/>
                    <a:gd name="T15" fmla="*/ 4605 h 4605"/>
                    <a:gd name="T16" fmla="*/ 0 w 5347"/>
                    <a:gd name="T17" fmla="*/ 4605 h 4605"/>
                    <a:gd name="T18" fmla="*/ 0 w 5347"/>
                    <a:gd name="T19" fmla="*/ 0 h 46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47" h="4605">
                      <a:moveTo>
                        <a:pt x="48" y="48"/>
                      </a:moveTo>
                      <a:lnTo>
                        <a:pt x="48" y="4557"/>
                      </a:lnTo>
                      <a:lnTo>
                        <a:pt x="5299" y="4557"/>
                      </a:lnTo>
                      <a:lnTo>
                        <a:pt x="5299" y="48"/>
                      </a:lnTo>
                      <a:lnTo>
                        <a:pt x="48" y="48"/>
                      </a:lnTo>
                      <a:close/>
                      <a:moveTo>
                        <a:pt x="0" y="0"/>
                      </a:moveTo>
                      <a:lnTo>
                        <a:pt x="5347" y="0"/>
                      </a:lnTo>
                      <a:lnTo>
                        <a:pt x="5347" y="4605"/>
                      </a:lnTo>
                      <a:lnTo>
                        <a:pt x="0" y="460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E5D8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cxnSp>
              <p:nvCxnSpPr>
                <p:cNvPr id="121" name="Rechte verbindingslijn 120"/>
                <p:cNvCxnSpPr/>
                <p:nvPr userDrawn="1"/>
              </p:nvCxnSpPr>
              <p:spPr>
                <a:xfrm flipH="1">
                  <a:off x="14654334" y="6382168"/>
                  <a:ext cx="162" cy="8649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" name="Rechte verbindingslijn 121"/>
                <p:cNvCxnSpPr/>
                <p:nvPr userDrawn="1"/>
              </p:nvCxnSpPr>
              <p:spPr>
                <a:xfrm>
                  <a:off x="14689188" y="6382168"/>
                  <a:ext cx="0" cy="8649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Rechte verbindingslijn 122"/>
                <p:cNvCxnSpPr/>
                <p:nvPr userDrawn="1"/>
              </p:nvCxnSpPr>
              <p:spPr>
                <a:xfrm>
                  <a:off x="14619892" y="6382040"/>
                  <a:ext cx="0" cy="8577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Rechte verbindingslijn 123"/>
                <p:cNvCxnSpPr/>
                <p:nvPr userDrawn="1"/>
              </p:nvCxnSpPr>
              <p:spPr>
                <a:xfrm flipH="1">
                  <a:off x="14593115" y="6400164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Rechte verbindingslijn 124"/>
                <p:cNvCxnSpPr/>
                <p:nvPr userDrawn="1"/>
              </p:nvCxnSpPr>
              <p:spPr>
                <a:xfrm flipH="1">
                  <a:off x="14593115" y="6423860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" name="Rechte verbindingslijn 125"/>
                <p:cNvCxnSpPr/>
                <p:nvPr userDrawn="1"/>
              </p:nvCxnSpPr>
              <p:spPr>
                <a:xfrm flipH="1">
                  <a:off x="14593115" y="6447556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7" name="Rectangle 13"/>
                <p:cNvSpPr>
                  <a:spLocks noChangeArrowheads="1"/>
                </p:cNvSpPr>
                <p:nvPr userDrawn="1"/>
              </p:nvSpPr>
              <p:spPr bwMode="auto">
                <a:xfrm>
                  <a:off x="14590283" y="6359138"/>
                  <a:ext cx="128657" cy="19347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1929FF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13" name="Groep 112"/>
              <p:cNvGrpSpPr/>
              <p:nvPr/>
            </p:nvGrpSpPr>
            <p:grpSpPr>
              <a:xfrm>
                <a:off x="12529899" y="6421402"/>
                <a:ext cx="97399" cy="97399"/>
                <a:chOff x="14546483" y="5323041"/>
                <a:chExt cx="242460" cy="242460"/>
              </a:xfrm>
            </p:grpSpPr>
            <p:sp>
              <p:nvSpPr>
                <p:cNvPr id="114" name="Rechthoek 113"/>
                <p:cNvSpPr/>
                <p:nvPr userDrawn="1"/>
              </p:nvSpPr>
              <p:spPr>
                <a:xfrm>
                  <a:off x="14546483" y="5323041"/>
                  <a:ext cx="242460" cy="242460"/>
                </a:xfrm>
                <a:prstGeom prst="rect">
                  <a:avLst/>
                </a:prstGeom>
                <a:solidFill>
                  <a:schemeClr val="bg1"/>
                </a:solidFill>
                <a:ln w="6350">
                  <a:solidFill>
                    <a:srgbClr val="00A4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115" name="Groep 114"/>
                <p:cNvGrpSpPr/>
                <p:nvPr/>
              </p:nvGrpSpPr>
              <p:grpSpPr>
                <a:xfrm>
                  <a:off x="14568035" y="5357818"/>
                  <a:ext cx="199836" cy="175226"/>
                  <a:chOff x="14559757" y="5349611"/>
                  <a:chExt cx="216392" cy="191641"/>
                </a:xfrm>
              </p:grpSpPr>
              <p:sp>
                <p:nvSpPr>
                  <p:cNvPr id="116" name="Parallellogram 115"/>
                  <p:cNvSpPr/>
                  <p:nvPr/>
                </p:nvSpPr>
                <p:spPr>
                  <a:xfrm>
                    <a:off x="14559757" y="5369222"/>
                    <a:ext cx="214316" cy="147762"/>
                  </a:xfrm>
                  <a:prstGeom prst="parallelogram">
                    <a:avLst>
                      <a:gd name="adj" fmla="val 93909"/>
                    </a:avLst>
                  </a:prstGeom>
                  <a:solidFill>
                    <a:srgbClr val="00A4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dirty="0"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17" name="Parallellogram 116"/>
                  <p:cNvSpPr/>
                  <p:nvPr/>
                </p:nvSpPr>
                <p:spPr>
                  <a:xfrm flipH="1">
                    <a:off x="14561833" y="5349611"/>
                    <a:ext cx="214316" cy="191641"/>
                  </a:xfrm>
                  <a:prstGeom prst="parallelogram">
                    <a:avLst>
                      <a:gd name="adj" fmla="val 68946"/>
                    </a:avLst>
                  </a:prstGeom>
                  <a:solidFill>
                    <a:srgbClr val="00A4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dirty="0"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</p:grpSp>
        <p:sp>
          <p:nvSpPr>
            <p:cNvPr id="89" name="Rechthoek 88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GRAFIEK INVOEGEN</a:t>
              </a:r>
            </a:p>
          </p:txBody>
        </p:sp>
        <p:sp>
          <p:nvSpPr>
            <p:cNvPr id="90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Klik op het icoon om een grafiek </a:t>
              </a:r>
              <a:b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n te voegen</a:t>
              </a:r>
            </a:p>
          </p:txBody>
        </p:sp>
        <p:sp>
          <p:nvSpPr>
            <p:cNvPr id="91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eer de grafiek die u wilt </a:t>
              </a:r>
              <a:b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nvoegen en klik op </a:t>
              </a:r>
              <a:r>
                <a:rPr lang="nl-NL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Invoegen’</a:t>
              </a:r>
            </a:p>
          </p:txBody>
        </p:sp>
        <p:sp>
          <p:nvSpPr>
            <p:cNvPr id="92" name="Ovaal 91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93" name="Ovaal 92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94" name="Rechte verbindingslijn 93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5" name="Rechte verbindingslijn 94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6" name="Rechte verbindingslijn 95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7" name="Tekstvak 33"/>
            <p:cNvSpPr txBox="1"/>
            <p:nvPr/>
          </p:nvSpPr>
          <p:spPr>
            <a:xfrm>
              <a:off x="12479311" y="5259838"/>
              <a:ext cx="2588841" cy="447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eer de grafiek, klik op de rechter muisknop en kies </a:t>
              </a:r>
              <a:r>
                <a:rPr lang="nl-NL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Gegevens bewerken’</a:t>
              </a:r>
            </a:p>
          </p:txBody>
        </p:sp>
        <p:cxnSp>
          <p:nvCxnSpPr>
            <p:cNvPr id="98" name="Rechte verbindingslijn 97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99" name="Groep 98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103" name="Afgeronde rechthoek 102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/>
              </a:p>
            </p:txBody>
          </p:sp>
          <p:sp>
            <p:nvSpPr>
              <p:cNvPr id="104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 dirty="0"/>
                  <a:t>Invoegen</a:t>
                </a:r>
              </a:p>
            </p:txBody>
          </p:sp>
          <p:cxnSp>
            <p:nvCxnSpPr>
              <p:cNvPr id="105" name="Rechte verbindingslijn 104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6" name="Gelijkbenige driehoek 105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/>
              </a:p>
            </p:txBody>
          </p:sp>
        </p:grpSp>
        <p:sp>
          <p:nvSpPr>
            <p:cNvPr id="100" name="Rechthoek 99"/>
            <p:cNvSpPr/>
            <p:nvPr/>
          </p:nvSpPr>
          <p:spPr>
            <a:xfrm>
              <a:off x="12483705" y="4856599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GRAFIEK BEWERKEN</a:t>
              </a:r>
            </a:p>
          </p:txBody>
        </p:sp>
        <p:cxnSp>
          <p:nvCxnSpPr>
            <p:cNvPr id="101" name="Rechte verbindingslijn 100"/>
            <p:cNvCxnSpPr/>
            <p:nvPr/>
          </p:nvCxnSpPr>
          <p:spPr>
            <a:xfrm>
              <a:off x="12487778" y="5145063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102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54186" y="6395104"/>
              <a:ext cx="158644" cy="2564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28484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9918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 hidden="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0204" y="0"/>
            <a:ext cx="12131592" cy="68580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84909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 dirty="0"/>
              <a:t>© Copyright SIDN | 2016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 dirty="0"/>
              <a:t>Titeldia</a:t>
            </a:r>
            <a:endParaRPr lang="nl-NL" dirty="0"/>
          </a:p>
        </p:txBody>
      </p:sp>
      <p:sp>
        <p:nvSpPr>
          <p:cNvPr id="270" name="Rechthoek 269"/>
          <p:cNvSpPr/>
          <p:nvPr userDrawn="1"/>
        </p:nvSpPr>
        <p:spPr>
          <a:xfrm>
            <a:off x="-3174" y="1"/>
            <a:ext cx="12198349" cy="2253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0" name="Titel 1"/>
          <p:cNvSpPr>
            <a:spLocks noGrp="1"/>
          </p:cNvSpPr>
          <p:nvPr>
            <p:ph type="title" hasCustomPrompt="1"/>
          </p:nvPr>
        </p:nvSpPr>
        <p:spPr>
          <a:xfrm>
            <a:off x="4810125" y="2034552"/>
            <a:ext cx="6922949" cy="1548650"/>
          </a:xfrm>
        </p:spPr>
        <p:txBody>
          <a:bodyPr anchor="b"/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nl-NL" noProof="0" dirty="0"/>
              <a:t>Titel van deze presentatie</a:t>
            </a:r>
          </a:p>
        </p:txBody>
      </p:sp>
      <p:sp>
        <p:nvSpPr>
          <p:cNvPr id="131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4810125" y="3570263"/>
            <a:ext cx="6922800" cy="601738"/>
          </a:xfrm>
        </p:spPr>
        <p:txBody>
          <a:bodyPr vert="horz"/>
          <a:lstStyle>
            <a:lvl1pPr>
              <a:defRPr>
                <a:solidFill>
                  <a:srgbClr val="62646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l-NL" noProof="0" dirty="0"/>
              <a:t>Spreker | Plaats</a:t>
            </a:r>
          </a:p>
        </p:txBody>
      </p:sp>
      <p:sp>
        <p:nvSpPr>
          <p:cNvPr id="9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717114" y="44387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rgbClr val="626465"/>
                </a:solidFill>
              </a:defRPr>
            </a:lvl1pPr>
          </a:lstStyle>
          <a:p>
            <a:fld id="{1A6F88E9-D7DE-4D78-82D4-5094D6306580}" type="datetime4">
              <a:rPr lang="nl-NL" smtClean="0"/>
              <a:t>March 29, 20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6280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250"/>
                                  </p:stCondLst>
                                  <p:iterate type="lt">
                                    <p:tmPct val="8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35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grpId="0" nodeType="withEffect">
                                  <p:stCondLst>
                                    <p:cond delay="750"/>
                                  </p:stCondLst>
                                  <p:iterate type="lt">
                                    <p:tmPct val="8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35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0" grpId="0"/>
      <p:bldP spid="131" grpId="0">
        <p:tmplLst>
          <p:tmpl>
            <p:tnLst>
              <p:par>
                <p:cTn xmlns:p14="http://schemas.microsoft.com/office/powerpoint/2010/main" presetID="22" presetClass="entr" presetSubtype="2" fill="hold" nodeType="withEffect">
                  <p:stCondLst>
                    <p:cond delay="750"/>
                  </p:stCondLst>
                  <p:iterate type="lt">
                    <p:tmPct val="8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right)">
                      <p:cBhvr>
                        <p:cTn dur="350"/>
                        <p:tgtEl>
                          <p:spTgt spid="13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8927" y="1092201"/>
            <a:ext cx="11274147" cy="4680000"/>
          </a:xfrm>
        </p:spPr>
        <p:txBody>
          <a:bodyPr vert="horz" anchor="ctr"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28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2400"/>
            </a:lvl2pPr>
            <a:lvl3pPr marL="45720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400"/>
            </a:lvl3pPr>
            <a:lvl4pPr marL="625475" indent="-1809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2400"/>
            </a:lvl4pPr>
            <a:lvl5pPr marL="806450" indent="-1809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2400"/>
            </a:lvl5pPr>
            <a:lvl6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2800"/>
            </a:lvl6pPr>
            <a:lvl7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2400"/>
            </a:lvl7pPr>
            <a:lvl8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2400"/>
            </a:lvl8pPr>
            <a:lvl9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 dirty="0"/>
              <a:t>© Copyright SIDN | 2016</a:t>
            </a:r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 dirty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4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8600" lvl="1" indent="-228600" fontAlgn="auto">
                <a:buClr>
                  <a:srgbClr val="656565"/>
                </a:buClr>
                <a:buSzPct val="115000"/>
                <a:buFont typeface="+mj-lt"/>
                <a:buAutoNum type="arabicPeriod"/>
                <a:defRPr/>
              </a:pP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Numerieke</a:t>
              </a:r>
              <a:r>
                <a:rPr lang="nl-NL" sz="1200" baseline="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4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4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4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8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5194300" y="-520700"/>
            <a:ext cx="6997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dirty="0"/>
              <a:t>Inhoudsopgave</a:t>
            </a:r>
          </a:p>
        </p:txBody>
      </p:sp>
    </p:spTree>
    <p:extLst>
      <p:ext uri="{BB962C8B-B14F-4D97-AF65-F5344CB8AC3E}">
        <p14:creationId xmlns:p14="http://schemas.microsoft.com/office/powerpoint/2010/main" val="4222047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teks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8927" y="1092201"/>
            <a:ext cx="11274147" cy="4680000"/>
          </a:xfr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 dirty="0"/>
              <a:t>© Copyright SIDN | 2016</a:t>
            </a:r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 dirty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5194300" y="-520700"/>
            <a:ext cx="6997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dirty="0"/>
              <a:t>Titel + tekst (100%)</a:t>
            </a:r>
          </a:p>
        </p:txBody>
      </p:sp>
    </p:spTree>
    <p:extLst>
      <p:ext uri="{BB962C8B-B14F-4D97-AF65-F5344CB8AC3E}">
        <p14:creationId xmlns:p14="http://schemas.microsoft.com/office/powerpoint/2010/main" val="2553718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Afbeelding (75%/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8928" y="1092201"/>
            <a:ext cx="7742111" cy="4680000"/>
          </a:xfr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 dirty="0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8585200" y="1092201"/>
            <a:ext cx="3147874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 dirty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dirty="0"/>
              <a:t>Tekst +</a:t>
            </a:r>
            <a:r>
              <a:rPr lang="nl-NL" baseline="0" dirty="0"/>
              <a:t> Afbeelding (75%/25%)</a:t>
            </a:r>
            <a:endParaRPr lang="nl-NL" dirty="0"/>
          </a:p>
        </p:txBody>
      </p:sp>
      <p:grpSp>
        <p:nvGrpSpPr>
          <p:cNvPr id="84" name="Groep 83"/>
          <p:cNvGrpSpPr/>
          <p:nvPr userDrawn="1"/>
        </p:nvGrpSpPr>
        <p:grpSpPr>
          <a:xfrm>
            <a:off x="12727582" y="19956"/>
            <a:ext cx="3113633" cy="6868888"/>
            <a:chOff x="12346582" y="-5444"/>
            <a:chExt cx="3113633" cy="6868888"/>
          </a:xfrm>
        </p:grpSpPr>
        <p:grpSp>
          <p:nvGrpSpPr>
            <p:cNvPr id="85" name="bijsnijden"/>
            <p:cNvGrpSpPr/>
            <p:nvPr userDrawn="1"/>
          </p:nvGrpSpPr>
          <p:grpSpPr>
            <a:xfrm>
              <a:off x="12346582" y="5828002"/>
              <a:ext cx="779464" cy="828260"/>
              <a:chOff x="13143038" y="5655940"/>
              <a:chExt cx="779464" cy="828260"/>
            </a:xfrm>
          </p:grpSpPr>
          <p:grpSp>
            <p:nvGrpSpPr>
              <p:cNvPr id="103" name="Groep 1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06" name="Rechthoek 1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107" name="Afbeelding 106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08" name="L-vorm 1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09" name="L-vorm 1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1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 dirty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105" name="Rechthoekige driehoek 1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 dirty="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  <p:sp>
          <p:nvSpPr>
            <p:cNvPr id="86" name="Rechthoek 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FBEELDING INVOEGEN</a:t>
              </a:r>
            </a:p>
          </p:txBody>
        </p:sp>
        <p:sp>
          <p:nvSpPr>
            <p:cNvPr id="87" name="Tekstvak 33"/>
            <p:cNvSpPr txBox="1"/>
            <p:nvPr/>
          </p:nvSpPr>
          <p:spPr>
            <a:xfrm>
              <a:off x="12483705" y="865335"/>
              <a:ext cx="2584447" cy="7306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Indien nodig, verwijder de bestaande afbeelding. Klik op het pictogram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om een afbeelding in te voegen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(zie onderstaand voorbeeld).</a:t>
              </a:r>
            </a:p>
          </p:txBody>
        </p:sp>
        <p:sp>
          <p:nvSpPr>
            <p:cNvPr id="88" name="Tekstvak 33"/>
            <p:cNvSpPr txBox="1"/>
            <p:nvPr/>
          </p:nvSpPr>
          <p:spPr>
            <a:xfrm>
              <a:off x="12479311" y="2969104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lecteer de afbeelding die u wilt invoegen 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Invoegen’</a:t>
              </a:r>
            </a:p>
          </p:txBody>
        </p:sp>
        <p:sp>
          <p:nvSpPr>
            <p:cNvPr id="89" name="Ovaal 88"/>
            <p:cNvSpPr/>
            <p:nvPr/>
          </p:nvSpPr>
          <p:spPr>
            <a:xfrm>
              <a:off x="12483705" y="436334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90" name="Ovaal 89"/>
            <p:cNvSpPr/>
            <p:nvPr/>
          </p:nvSpPr>
          <p:spPr>
            <a:xfrm>
              <a:off x="12488780" y="2543208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cxnSp>
          <p:nvCxnSpPr>
            <p:cNvPr id="91" name="Rechte verbindingslijn 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2" name="Rechte verbindingslijn 91"/>
            <p:cNvCxnSpPr/>
            <p:nvPr/>
          </p:nvCxnSpPr>
          <p:spPr>
            <a:xfrm>
              <a:off x="12479311" y="2393251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3" name="Rechte verbindingslijn 92"/>
            <p:cNvCxnSpPr/>
            <p:nvPr/>
          </p:nvCxnSpPr>
          <p:spPr>
            <a:xfrm>
              <a:off x="12470972" y="3968888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94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708839"/>
              <a:ext cx="521075" cy="521075"/>
            </a:xfrm>
            <a:prstGeom prst="rect">
              <a:avLst/>
            </a:prstGeom>
          </p:spPr>
        </p:pic>
        <p:sp>
          <p:nvSpPr>
            <p:cNvPr id="95" name="Tekstvak 33"/>
            <p:cNvSpPr txBox="1"/>
            <p:nvPr/>
          </p:nvSpPr>
          <p:spPr>
            <a:xfrm>
              <a:off x="12479311" y="4549393"/>
              <a:ext cx="2980904" cy="10718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ls u de afbeelding wilt schalen of verslepen, ga naar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Hulpmiddelen voor afbeeldingen’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Bijsnijden’.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Met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e witte bolletjes schaalt u de afbeelding, met de zwarte haakjes schaalt u het afbeeldingskader.</a:t>
              </a:r>
            </a:p>
          </p:txBody>
        </p:sp>
        <p:sp>
          <p:nvSpPr>
            <p:cNvPr id="96" name="Ovaal 95"/>
            <p:cNvSpPr/>
            <p:nvPr/>
          </p:nvSpPr>
          <p:spPr>
            <a:xfrm>
              <a:off x="12488779" y="4119303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cxnSp>
          <p:nvCxnSpPr>
            <p:cNvPr id="97" name="Rechte verbindingslijn 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8" name="Groep 97"/>
            <p:cNvGrpSpPr/>
            <p:nvPr/>
          </p:nvGrpSpPr>
          <p:grpSpPr>
            <a:xfrm>
              <a:off x="12483705" y="3495180"/>
              <a:ext cx="1114138" cy="297656"/>
              <a:chOff x="13560784" y="3471416"/>
              <a:chExt cx="1114138" cy="297656"/>
            </a:xfrm>
          </p:grpSpPr>
          <p:sp>
            <p:nvSpPr>
              <p:cNvPr id="99" name="Afgeronde rechthoek 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 dirty="0"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Invoegen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Gelijkbenige driehoek 1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95323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Afbeelding (50%/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8929" y="1092201"/>
            <a:ext cx="5268770" cy="4680000"/>
          </a:xfr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6083300" y="1092201"/>
            <a:ext cx="5649774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 dirty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dirty="0"/>
              <a:t>Tekst +</a:t>
            </a:r>
            <a:r>
              <a:rPr lang="nl-NL" baseline="0" dirty="0"/>
              <a:t> Afbeelding (50%/50%)</a:t>
            </a:r>
            <a:endParaRPr lang="nl-NL" dirty="0"/>
          </a:p>
        </p:txBody>
      </p:sp>
      <p:grpSp>
        <p:nvGrpSpPr>
          <p:cNvPr id="84" name="Groep 83"/>
          <p:cNvGrpSpPr/>
          <p:nvPr userDrawn="1"/>
        </p:nvGrpSpPr>
        <p:grpSpPr>
          <a:xfrm>
            <a:off x="12727582" y="19956"/>
            <a:ext cx="3113633" cy="6868888"/>
            <a:chOff x="12346582" y="-5444"/>
            <a:chExt cx="3113633" cy="6868888"/>
          </a:xfrm>
        </p:grpSpPr>
        <p:grpSp>
          <p:nvGrpSpPr>
            <p:cNvPr id="85" name="bijsnijden"/>
            <p:cNvGrpSpPr/>
            <p:nvPr userDrawn="1"/>
          </p:nvGrpSpPr>
          <p:grpSpPr>
            <a:xfrm>
              <a:off x="12346582" y="5828002"/>
              <a:ext cx="779464" cy="828260"/>
              <a:chOff x="13143038" y="5655940"/>
              <a:chExt cx="779464" cy="828260"/>
            </a:xfrm>
          </p:grpSpPr>
          <p:grpSp>
            <p:nvGrpSpPr>
              <p:cNvPr id="103" name="Groep 1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06" name="Rechthoek 1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107" name="Afbeelding 106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08" name="L-vorm 1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09" name="L-vorm 1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1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 dirty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105" name="Rechthoekige driehoek 1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 dirty="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  <p:sp>
          <p:nvSpPr>
            <p:cNvPr id="86" name="Rechthoek 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FBEELDING INVOEGEN</a:t>
              </a:r>
            </a:p>
          </p:txBody>
        </p:sp>
        <p:sp>
          <p:nvSpPr>
            <p:cNvPr id="87" name="Tekstvak 33"/>
            <p:cNvSpPr txBox="1"/>
            <p:nvPr/>
          </p:nvSpPr>
          <p:spPr>
            <a:xfrm>
              <a:off x="12483705" y="865335"/>
              <a:ext cx="2584447" cy="7306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Indien nodig, verwijder de bestaande afbeelding. Klik op het pictogram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om een afbeelding in te voegen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(zie onderstaand voorbeeld).</a:t>
              </a:r>
            </a:p>
          </p:txBody>
        </p:sp>
        <p:sp>
          <p:nvSpPr>
            <p:cNvPr id="88" name="Tekstvak 33"/>
            <p:cNvSpPr txBox="1"/>
            <p:nvPr/>
          </p:nvSpPr>
          <p:spPr>
            <a:xfrm>
              <a:off x="12479311" y="2969104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lecteer de afbeelding die u wilt invoegen 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Invoegen’</a:t>
              </a:r>
            </a:p>
          </p:txBody>
        </p:sp>
        <p:sp>
          <p:nvSpPr>
            <p:cNvPr id="89" name="Ovaal 88"/>
            <p:cNvSpPr/>
            <p:nvPr/>
          </p:nvSpPr>
          <p:spPr>
            <a:xfrm>
              <a:off x="12483705" y="436334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90" name="Ovaal 89"/>
            <p:cNvSpPr/>
            <p:nvPr/>
          </p:nvSpPr>
          <p:spPr>
            <a:xfrm>
              <a:off x="12488780" y="2543208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cxnSp>
          <p:nvCxnSpPr>
            <p:cNvPr id="91" name="Rechte verbindingslijn 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2" name="Rechte verbindingslijn 91"/>
            <p:cNvCxnSpPr/>
            <p:nvPr/>
          </p:nvCxnSpPr>
          <p:spPr>
            <a:xfrm>
              <a:off x="12479311" y="2393251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3" name="Rechte verbindingslijn 92"/>
            <p:cNvCxnSpPr/>
            <p:nvPr/>
          </p:nvCxnSpPr>
          <p:spPr>
            <a:xfrm>
              <a:off x="12470972" y="3968888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94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708839"/>
              <a:ext cx="521075" cy="521075"/>
            </a:xfrm>
            <a:prstGeom prst="rect">
              <a:avLst/>
            </a:prstGeom>
          </p:spPr>
        </p:pic>
        <p:sp>
          <p:nvSpPr>
            <p:cNvPr id="95" name="Tekstvak 33"/>
            <p:cNvSpPr txBox="1"/>
            <p:nvPr/>
          </p:nvSpPr>
          <p:spPr>
            <a:xfrm>
              <a:off x="12479311" y="4549393"/>
              <a:ext cx="2980904" cy="10718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ls u de afbeelding wilt schalen of verslepen, ga naar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Hulpmiddelen voor afbeeldingen’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Bijsnijden’.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Met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e witte bolletjes schaalt u de afbeelding, met de zwarte haakjes schaalt u het afbeeldingskader.</a:t>
              </a:r>
            </a:p>
          </p:txBody>
        </p:sp>
        <p:sp>
          <p:nvSpPr>
            <p:cNvPr id="96" name="Ovaal 95"/>
            <p:cNvSpPr/>
            <p:nvPr/>
          </p:nvSpPr>
          <p:spPr>
            <a:xfrm>
              <a:off x="12488779" y="4119303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cxnSp>
          <p:nvCxnSpPr>
            <p:cNvPr id="97" name="Rechte verbindingslijn 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8" name="Groep 97"/>
            <p:cNvGrpSpPr/>
            <p:nvPr/>
          </p:nvGrpSpPr>
          <p:grpSpPr>
            <a:xfrm>
              <a:off x="12483705" y="3495180"/>
              <a:ext cx="1114138" cy="297656"/>
              <a:chOff x="13560784" y="3471416"/>
              <a:chExt cx="1114138" cy="297656"/>
            </a:xfrm>
          </p:grpSpPr>
          <p:sp>
            <p:nvSpPr>
              <p:cNvPr id="99" name="Afgeronde rechthoek 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 dirty="0"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Invoegen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Gelijkbenige driehoek 1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93568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Afbeelding (25%/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8929" y="1092201"/>
            <a:ext cx="2914706" cy="4680000"/>
          </a:xfr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3695700" y="1092201"/>
            <a:ext cx="8037374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 dirty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dirty="0"/>
              <a:t>Tekst +</a:t>
            </a:r>
            <a:r>
              <a:rPr lang="nl-NL" baseline="0" dirty="0"/>
              <a:t> Afbeelding (25%/75%)</a:t>
            </a:r>
            <a:endParaRPr lang="nl-NL" dirty="0"/>
          </a:p>
        </p:txBody>
      </p:sp>
      <p:grpSp>
        <p:nvGrpSpPr>
          <p:cNvPr id="84" name="Groep 83"/>
          <p:cNvGrpSpPr/>
          <p:nvPr userDrawn="1"/>
        </p:nvGrpSpPr>
        <p:grpSpPr>
          <a:xfrm>
            <a:off x="12727582" y="19956"/>
            <a:ext cx="3113633" cy="6868888"/>
            <a:chOff x="12346582" y="-5444"/>
            <a:chExt cx="3113633" cy="6868888"/>
          </a:xfrm>
        </p:grpSpPr>
        <p:grpSp>
          <p:nvGrpSpPr>
            <p:cNvPr id="85" name="bijsnijden"/>
            <p:cNvGrpSpPr/>
            <p:nvPr userDrawn="1"/>
          </p:nvGrpSpPr>
          <p:grpSpPr>
            <a:xfrm>
              <a:off x="12346582" y="5828002"/>
              <a:ext cx="779464" cy="828260"/>
              <a:chOff x="13143038" y="5655940"/>
              <a:chExt cx="779464" cy="828260"/>
            </a:xfrm>
          </p:grpSpPr>
          <p:grpSp>
            <p:nvGrpSpPr>
              <p:cNvPr id="103" name="Groep 1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06" name="Rechthoek 1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107" name="Afbeelding 106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08" name="L-vorm 1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09" name="L-vorm 1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1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 dirty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105" name="Rechthoekige driehoek 1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 dirty="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  <p:sp>
          <p:nvSpPr>
            <p:cNvPr id="86" name="Rechthoek 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FBEELDING INVOEGEN</a:t>
              </a:r>
            </a:p>
          </p:txBody>
        </p:sp>
        <p:sp>
          <p:nvSpPr>
            <p:cNvPr id="87" name="Tekstvak 33"/>
            <p:cNvSpPr txBox="1"/>
            <p:nvPr/>
          </p:nvSpPr>
          <p:spPr>
            <a:xfrm>
              <a:off x="12483705" y="865335"/>
              <a:ext cx="2584447" cy="7306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Indien nodig, verwijder de bestaande afbeelding. Klik op het pictogram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om een afbeelding in te voegen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(zie onderstaand voorbeeld).</a:t>
              </a:r>
            </a:p>
          </p:txBody>
        </p:sp>
        <p:sp>
          <p:nvSpPr>
            <p:cNvPr id="88" name="Tekstvak 33"/>
            <p:cNvSpPr txBox="1"/>
            <p:nvPr/>
          </p:nvSpPr>
          <p:spPr>
            <a:xfrm>
              <a:off x="12479311" y="2969104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lecteer de afbeelding die u wilt invoegen 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Invoegen’</a:t>
              </a:r>
            </a:p>
          </p:txBody>
        </p:sp>
        <p:sp>
          <p:nvSpPr>
            <p:cNvPr id="89" name="Ovaal 88"/>
            <p:cNvSpPr/>
            <p:nvPr/>
          </p:nvSpPr>
          <p:spPr>
            <a:xfrm>
              <a:off x="12483705" y="436334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90" name="Ovaal 89"/>
            <p:cNvSpPr/>
            <p:nvPr/>
          </p:nvSpPr>
          <p:spPr>
            <a:xfrm>
              <a:off x="12488780" y="2543208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cxnSp>
          <p:nvCxnSpPr>
            <p:cNvPr id="91" name="Rechte verbindingslijn 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2" name="Rechte verbindingslijn 91"/>
            <p:cNvCxnSpPr/>
            <p:nvPr/>
          </p:nvCxnSpPr>
          <p:spPr>
            <a:xfrm>
              <a:off x="12479311" y="2393251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3" name="Rechte verbindingslijn 92"/>
            <p:cNvCxnSpPr/>
            <p:nvPr/>
          </p:nvCxnSpPr>
          <p:spPr>
            <a:xfrm>
              <a:off x="12470972" y="3968888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94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708839"/>
              <a:ext cx="521075" cy="521075"/>
            </a:xfrm>
            <a:prstGeom prst="rect">
              <a:avLst/>
            </a:prstGeom>
          </p:spPr>
        </p:pic>
        <p:sp>
          <p:nvSpPr>
            <p:cNvPr id="95" name="Tekstvak 33"/>
            <p:cNvSpPr txBox="1"/>
            <p:nvPr/>
          </p:nvSpPr>
          <p:spPr>
            <a:xfrm>
              <a:off x="12479311" y="4549393"/>
              <a:ext cx="2980904" cy="10718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ls u de afbeelding wilt schalen of verslepen, ga naar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Hulpmiddelen voor afbeeldingen’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Bijsnijden’.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Met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e witte bolletjes schaalt u de afbeelding, met de zwarte haakjes schaalt u het afbeeldingskader.</a:t>
              </a:r>
            </a:p>
          </p:txBody>
        </p:sp>
        <p:sp>
          <p:nvSpPr>
            <p:cNvPr id="96" name="Ovaal 95"/>
            <p:cNvSpPr/>
            <p:nvPr/>
          </p:nvSpPr>
          <p:spPr>
            <a:xfrm>
              <a:off x="12488779" y="4119303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cxnSp>
          <p:nvCxnSpPr>
            <p:cNvPr id="97" name="Rechte verbindingslijn 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8" name="Groep 97"/>
            <p:cNvGrpSpPr/>
            <p:nvPr/>
          </p:nvGrpSpPr>
          <p:grpSpPr>
            <a:xfrm>
              <a:off x="12483705" y="3495180"/>
              <a:ext cx="1114138" cy="297656"/>
              <a:chOff x="13560784" y="3471416"/>
              <a:chExt cx="1114138" cy="297656"/>
            </a:xfrm>
          </p:grpSpPr>
          <p:sp>
            <p:nvSpPr>
              <p:cNvPr id="99" name="Afgeronde rechthoek 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 dirty="0"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Invoegen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Gelijkbenige driehoek 1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2034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+ Tekst (25%/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987800" y="1092201"/>
            <a:ext cx="7745274" cy="4680000"/>
          </a:xfr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458927" y="1092201"/>
            <a:ext cx="3147874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 dirty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 dirty="0"/>
              <a:t>Afbeelding + </a:t>
            </a:r>
            <a:r>
              <a:rPr lang="nl-NL" dirty="0"/>
              <a:t>Tekst</a:t>
            </a:r>
            <a:r>
              <a:rPr lang="nl-NL" baseline="0" dirty="0"/>
              <a:t> (25%/75%)</a:t>
            </a:r>
            <a:endParaRPr lang="nl-NL" dirty="0"/>
          </a:p>
        </p:txBody>
      </p:sp>
      <p:grpSp>
        <p:nvGrpSpPr>
          <p:cNvPr id="84" name="Groep 83"/>
          <p:cNvGrpSpPr/>
          <p:nvPr userDrawn="1"/>
        </p:nvGrpSpPr>
        <p:grpSpPr>
          <a:xfrm>
            <a:off x="12727582" y="19956"/>
            <a:ext cx="3113633" cy="6868888"/>
            <a:chOff x="12346582" y="-5444"/>
            <a:chExt cx="3113633" cy="6868888"/>
          </a:xfrm>
        </p:grpSpPr>
        <p:grpSp>
          <p:nvGrpSpPr>
            <p:cNvPr id="85" name="bijsnijden"/>
            <p:cNvGrpSpPr/>
            <p:nvPr userDrawn="1"/>
          </p:nvGrpSpPr>
          <p:grpSpPr>
            <a:xfrm>
              <a:off x="12346582" y="5828002"/>
              <a:ext cx="779464" cy="828260"/>
              <a:chOff x="13143038" y="5655940"/>
              <a:chExt cx="779464" cy="828260"/>
            </a:xfrm>
          </p:grpSpPr>
          <p:grpSp>
            <p:nvGrpSpPr>
              <p:cNvPr id="103" name="Groep 1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06" name="Rechthoek 1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107" name="Afbeelding 106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08" name="L-vorm 1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09" name="L-vorm 1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1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 dirty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105" name="Rechthoekige driehoek 1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 dirty="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  <p:sp>
          <p:nvSpPr>
            <p:cNvPr id="86" name="Rechthoek 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FBEELDING INVOEGEN</a:t>
              </a:r>
            </a:p>
          </p:txBody>
        </p:sp>
        <p:sp>
          <p:nvSpPr>
            <p:cNvPr id="87" name="Tekstvak 33"/>
            <p:cNvSpPr txBox="1"/>
            <p:nvPr/>
          </p:nvSpPr>
          <p:spPr>
            <a:xfrm>
              <a:off x="12483705" y="865335"/>
              <a:ext cx="2584447" cy="7306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Indien nodig, verwijder de bestaande afbeelding. Klik op het pictogram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om een afbeelding in te voegen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(zie onderstaand voorbeeld).</a:t>
              </a:r>
            </a:p>
          </p:txBody>
        </p:sp>
        <p:sp>
          <p:nvSpPr>
            <p:cNvPr id="88" name="Tekstvak 33"/>
            <p:cNvSpPr txBox="1"/>
            <p:nvPr/>
          </p:nvSpPr>
          <p:spPr>
            <a:xfrm>
              <a:off x="12479311" y="2969104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lecteer de afbeelding die u wilt invoegen 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Invoegen’</a:t>
              </a:r>
            </a:p>
          </p:txBody>
        </p:sp>
        <p:sp>
          <p:nvSpPr>
            <p:cNvPr id="89" name="Ovaal 88"/>
            <p:cNvSpPr/>
            <p:nvPr/>
          </p:nvSpPr>
          <p:spPr>
            <a:xfrm>
              <a:off x="12483705" y="436334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90" name="Ovaal 89"/>
            <p:cNvSpPr/>
            <p:nvPr/>
          </p:nvSpPr>
          <p:spPr>
            <a:xfrm>
              <a:off x="12488780" y="2543208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cxnSp>
          <p:nvCxnSpPr>
            <p:cNvPr id="91" name="Rechte verbindingslijn 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2" name="Rechte verbindingslijn 91"/>
            <p:cNvCxnSpPr/>
            <p:nvPr/>
          </p:nvCxnSpPr>
          <p:spPr>
            <a:xfrm>
              <a:off x="12479311" y="2393251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3" name="Rechte verbindingslijn 92"/>
            <p:cNvCxnSpPr/>
            <p:nvPr/>
          </p:nvCxnSpPr>
          <p:spPr>
            <a:xfrm>
              <a:off x="12470972" y="3968888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94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708839"/>
              <a:ext cx="521075" cy="521075"/>
            </a:xfrm>
            <a:prstGeom prst="rect">
              <a:avLst/>
            </a:prstGeom>
          </p:spPr>
        </p:pic>
        <p:sp>
          <p:nvSpPr>
            <p:cNvPr id="95" name="Tekstvak 33"/>
            <p:cNvSpPr txBox="1"/>
            <p:nvPr/>
          </p:nvSpPr>
          <p:spPr>
            <a:xfrm>
              <a:off x="12479311" y="4549393"/>
              <a:ext cx="2980904" cy="10718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ls u de afbeelding wilt schalen of verslepen, ga naar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Hulpmiddelen voor afbeeldingen’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Bijsnijden’.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Met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e witte bolletjes schaalt u de afbeelding, met de zwarte haakjes schaalt u het afbeeldingskader.</a:t>
              </a:r>
            </a:p>
          </p:txBody>
        </p:sp>
        <p:sp>
          <p:nvSpPr>
            <p:cNvPr id="96" name="Ovaal 95"/>
            <p:cNvSpPr/>
            <p:nvPr/>
          </p:nvSpPr>
          <p:spPr>
            <a:xfrm>
              <a:off x="12488779" y="4119303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cxnSp>
          <p:nvCxnSpPr>
            <p:cNvPr id="97" name="Rechte verbindingslijn 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8" name="Groep 97"/>
            <p:cNvGrpSpPr/>
            <p:nvPr/>
          </p:nvGrpSpPr>
          <p:grpSpPr>
            <a:xfrm>
              <a:off x="12483705" y="3495180"/>
              <a:ext cx="1114138" cy="297656"/>
              <a:chOff x="13560784" y="3471416"/>
              <a:chExt cx="1114138" cy="297656"/>
            </a:xfrm>
          </p:grpSpPr>
          <p:sp>
            <p:nvSpPr>
              <p:cNvPr id="99" name="Afgeronde rechthoek 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 dirty="0"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Invoegen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Gelijkbenige driehoek 1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5630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+ Tekst (50%/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6451600" y="1092201"/>
            <a:ext cx="5281474" cy="4680000"/>
          </a:xfr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Copyright SIDN | 2016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458927" y="1092201"/>
            <a:ext cx="5552610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 dirty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 dirty="0"/>
              <a:t>Afbeelding + </a:t>
            </a:r>
            <a:r>
              <a:rPr lang="nl-NL" dirty="0"/>
              <a:t>Tekst</a:t>
            </a:r>
            <a:r>
              <a:rPr lang="nl-NL" baseline="0" dirty="0"/>
              <a:t> (50%/50%)</a:t>
            </a:r>
            <a:endParaRPr lang="nl-NL" dirty="0"/>
          </a:p>
        </p:txBody>
      </p:sp>
      <p:grpSp>
        <p:nvGrpSpPr>
          <p:cNvPr id="84" name="Groep 83"/>
          <p:cNvGrpSpPr/>
          <p:nvPr userDrawn="1"/>
        </p:nvGrpSpPr>
        <p:grpSpPr>
          <a:xfrm>
            <a:off x="12727582" y="19956"/>
            <a:ext cx="3113633" cy="6868888"/>
            <a:chOff x="12346582" y="-5444"/>
            <a:chExt cx="3113633" cy="6868888"/>
          </a:xfrm>
        </p:grpSpPr>
        <p:grpSp>
          <p:nvGrpSpPr>
            <p:cNvPr id="85" name="bijsnijden"/>
            <p:cNvGrpSpPr/>
            <p:nvPr userDrawn="1"/>
          </p:nvGrpSpPr>
          <p:grpSpPr>
            <a:xfrm>
              <a:off x="12346582" y="5828002"/>
              <a:ext cx="779464" cy="828260"/>
              <a:chOff x="13143038" y="5655940"/>
              <a:chExt cx="779464" cy="828260"/>
            </a:xfrm>
          </p:grpSpPr>
          <p:grpSp>
            <p:nvGrpSpPr>
              <p:cNvPr id="103" name="Groep 1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06" name="Rechthoek 1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107" name="Afbeelding 106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08" name="L-vorm 1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09" name="L-vorm 1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1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 dirty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105" name="Rechthoekige driehoek 1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 dirty="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  <p:sp>
          <p:nvSpPr>
            <p:cNvPr id="86" name="Rechthoek 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FBEELDING INVOEGEN</a:t>
              </a:r>
            </a:p>
          </p:txBody>
        </p:sp>
        <p:sp>
          <p:nvSpPr>
            <p:cNvPr id="87" name="Tekstvak 33"/>
            <p:cNvSpPr txBox="1"/>
            <p:nvPr/>
          </p:nvSpPr>
          <p:spPr>
            <a:xfrm>
              <a:off x="12483705" y="865335"/>
              <a:ext cx="2584447" cy="7306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Indien nodig, verwijder de bestaande afbeelding. Klik op het pictogram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om een afbeelding in te voegen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(zie onderstaand voorbeeld).</a:t>
              </a:r>
            </a:p>
          </p:txBody>
        </p:sp>
        <p:sp>
          <p:nvSpPr>
            <p:cNvPr id="88" name="Tekstvak 33"/>
            <p:cNvSpPr txBox="1"/>
            <p:nvPr/>
          </p:nvSpPr>
          <p:spPr>
            <a:xfrm>
              <a:off x="12479311" y="2969104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lecteer de afbeelding die u wilt invoegen 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Invoegen’</a:t>
              </a:r>
            </a:p>
          </p:txBody>
        </p:sp>
        <p:sp>
          <p:nvSpPr>
            <p:cNvPr id="89" name="Ovaal 88"/>
            <p:cNvSpPr/>
            <p:nvPr/>
          </p:nvSpPr>
          <p:spPr>
            <a:xfrm>
              <a:off x="12483705" y="436334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90" name="Ovaal 89"/>
            <p:cNvSpPr/>
            <p:nvPr/>
          </p:nvSpPr>
          <p:spPr>
            <a:xfrm>
              <a:off x="12488780" y="2543208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cxnSp>
          <p:nvCxnSpPr>
            <p:cNvPr id="91" name="Rechte verbindingslijn 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2" name="Rechte verbindingslijn 91"/>
            <p:cNvCxnSpPr/>
            <p:nvPr/>
          </p:nvCxnSpPr>
          <p:spPr>
            <a:xfrm>
              <a:off x="12479311" y="2393251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3" name="Rechte verbindingslijn 92"/>
            <p:cNvCxnSpPr/>
            <p:nvPr/>
          </p:nvCxnSpPr>
          <p:spPr>
            <a:xfrm>
              <a:off x="12470972" y="3968888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94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708839"/>
              <a:ext cx="521075" cy="521075"/>
            </a:xfrm>
            <a:prstGeom prst="rect">
              <a:avLst/>
            </a:prstGeom>
          </p:spPr>
        </p:pic>
        <p:sp>
          <p:nvSpPr>
            <p:cNvPr id="95" name="Tekstvak 33"/>
            <p:cNvSpPr txBox="1"/>
            <p:nvPr/>
          </p:nvSpPr>
          <p:spPr>
            <a:xfrm>
              <a:off x="12479311" y="4549393"/>
              <a:ext cx="2980904" cy="10718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ls u de afbeelding wilt schalen of verslepen, ga naar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Hulpmiddelen voor afbeeldingen’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Bijsnijden’.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Met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e witte bolletjes schaalt u de afbeelding, met de zwarte haakjes schaalt u het afbeeldingskader.</a:t>
              </a:r>
            </a:p>
          </p:txBody>
        </p:sp>
        <p:sp>
          <p:nvSpPr>
            <p:cNvPr id="96" name="Ovaal 95"/>
            <p:cNvSpPr/>
            <p:nvPr/>
          </p:nvSpPr>
          <p:spPr>
            <a:xfrm>
              <a:off x="12488779" y="4119303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cxnSp>
          <p:nvCxnSpPr>
            <p:cNvPr id="97" name="Rechte verbindingslijn 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8" name="Groep 97"/>
            <p:cNvGrpSpPr/>
            <p:nvPr/>
          </p:nvGrpSpPr>
          <p:grpSpPr>
            <a:xfrm>
              <a:off x="12483705" y="3495180"/>
              <a:ext cx="1114138" cy="297656"/>
              <a:chOff x="13560784" y="3471416"/>
              <a:chExt cx="1114138" cy="297656"/>
            </a:xfrm>
          </p:grpSpPr>
          <p:sp>
            <p:nvSpPr>
              <p:cNvPr id="99" name="Afgeronde rechthoek 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 dirty="0"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Invoegen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Gelijkbenige driehoek 1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12372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2.xml"/><Relationship Id="rId21" Type="http://schemas.openxmlformats.org/officeDocument/2006/relationships/image" Target="../media/image2.emf"/><Relationship Id="rId22" Type="http://schemas.openxmlformats.org/officeDocument/2006/relationships/oleObject" Target="../embeddings/oleObject1.bin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theme" Target="../theme/theme1.xml"/><Relationship Id="rId1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IDN Labs logo.eps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6543" y="6038850"/>
            <a:ext cx="1188898" cy="5842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460481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3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  <a:prstGeom prst="rect">
            <a:avLst/>
          </a:prstGeom>
        </p:spPr>
        <p:txBody>
          <a:bodyPr vert="horz" lIns="0" tIns="108000" rIns="108000" bIns="108000" rtlCol="0" anchor="ctr">
            <a:noAutofit/>
          </a:bodyPr>
          <a:lstStyle/>
          <a:p>
            <a:r>
              <a:rPr lang="nl-NL" dirty="0"/>
              <a:t>Klik om de stijl te bewerken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8927" y="1092201"/>
            <a:ext cx="11274147" cy="4680000"/>
          </a:xfrm>
          <a:prstGeom prst="rect">
            <a:avLst/>
          </a:prstGeom>
        </p:spPr>
        <p:txBody>
          <a:bodyPr vert="horz" lIns="0" tIns="108000" rIns="108000" bIns="108000" rtlCol="0"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</a:t>
            </a:r>
          </a:p>
          <a:p>
            <a:pPr lvl="6"/>
            <a:r>
              <a:rPr lang="nl-NL" dirty="0"/>
              <a:t>Zeven</a:t>
            </a:r>
          </a:p>
          <a:p>
            <a:pPr lvl="7"/>
            <a:r>
              <a:rPr lang="nl-NL" dirty="0"/>
              <a:t>Acht</a:t>
            </a:r>
          </a:p>
          <a:p>
            <a:pPr lvl="8"/>
            <a:r>
              <a:rPr lang="nl-NL" dirty="0"/>
              <a:t>Negen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58926" y="6214022"/>
            <a:ext cx="5268773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nl-NL" noProof="0"/>
              <a:t>© Copyright SIDN | 2016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2306949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705" r:id="rId2"/>
    <p:sldLayoutId id="2147483706" r:id="rId3"/>
    <p:sldLayoutId id="2147483693" r:id="rId4"/>
    <p:sldLayoutId id="2147483692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7" r:id="rId1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400" kern="1200">
          <a:solidFill>
            <a:srgbClr val="656565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kern="1200">
          <a:solidFill>
            <a:srgbClr val="656565"/>
          </a:solidFill>
          <a:latin typeface="+mn-lt"/>
          <a:ea typeface="+mn-ea"/>
          <a:cs typeface="+mn-cs"/>
        </a:defRPr>
      </a:lvl2pPr>
      <a:lvl3pPr marL="177800" indent="-1778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rgbClr val="656565"/>
          </a:solidFill>
          <a:latin typeface="+mn-lt"/>
          <a:ea typeface="+mn-ea"/>
          <a:cs typeface="+mn-cs"/>
        </a:defRPr>
      </a:lvl3pPr>
      <a:lvl4pPr marL="355600" indent="-1778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rgbClr val="656565"/>
          </a:solidFill>
          <a:latin typeface="+mn-lt"/>
          <a:ea typeface="+mn-ea"/>
          <a:cs typeface="+mn-cs"/>
        </a:defRPr>
      </a:lvl4pPr>
      <a:lvl5pPr marL="533400" indent="-1778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rgbClr val="656565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400" kern="1200">
          <a:solidFill>
            <a:srgbClr val="656565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kern="1200">
          <a:solidFill>
            <a:srgbClr val="656565"/>
          </a:solidFill>
          <a:latin typeface="+mn-lt"/>
          <a:ea typeface="+mn-ea"/>
          <a:cs typeface="+mn-cs"/>
        </a:defRPr>
      </a:lvl7pPr>
      <a:lvl8pPr marL="177800" indent="-1778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rgbClr val="656565"/>
          </a:solidFill>
          <a:latin typeface="+mn-lt"/>
          <a:ea typeface="+mn-ea"/>
          <a:cs typeface="+mn-cs"/>
        </a:defRPr>
      </a:lvl8pPr>
      <a:lvl9pPr marL="355600" indent="-1778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rgbClr val="656565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4.xml"/><Relationship Id="rId3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4" Type="http://schemas.openxmlformats.org/officeDocument/2006/relationships/image" Target="../media/image23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2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Titel 23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ENTRADA: The Impact of a TTL Change at the TLD Level</a:t>
            </a:r>
            <a:endParaRPr lang="nl-NL" dirty="0"/>
          </a:p>
        </p:txBody>
      </p:sp>
      <p:sp>
        <p:nvSpPr>
          <p:cNvPr id="240" name="Tijdelijke aanduiding voor verticale tekst 239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sz="2000" dirty="0" smtClean="0"/>
              <a:t>Maarten Wullink| DNS-OARC Spring 2016 workshop</a:t>
            </a:r>
            <a:endParaRPr lang="nl-NL" sz="2000" dirty="0"/>
          </a:p>
        </p:txBody>
      </p:sp>
      <p:sp>
        <p:nvSpPr>
          <p:cNvPr id="2" name="Tijdelijke aanduiding voor datum 1"/>
          <p:cNvSpPr>
            <a:spLocks noGrp="1"/>
          </p:cNvSpPr>
          <p:nvPr>
            <p:ph type="dt" sz="half" idx="2"/>
          </p:nvPr>
        </p:nvSpPr>
        <p:spPr>
          <a:xfrm>
            <a:off x="4808554" y="4418449"/>
            <a:ext cx="2743200" cy="365125"/>
          </a:xfrm>
        </p:spPr>
        <p:txBody>
          <a:bodyPr/>
          <a:lstStyle/>
          <a:p>
            <a:r>
              <a:rPr lang="en-GB" dirty="0" smtClean="0"/>
              <a:t>March 31</a:t>
            </a:r>
            <a:r>
              <a:rPr lang="en-GB" baseline="30000" dirty="0" smtClean="0"/>
              <a:t>st</a:t>
            </a:r>
            <a:r>
              <a:rPr lang="en-GB" dirty="0" smtClean="0"/>
              <a:t> 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1227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ns1-weekday-a-ns-aaaa-queries (3)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00" y="1260000"/>
            <a:ext cx="9360000" cy="468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altLang="nl-NL" dirty="0" smtClean="0"/>
              <a:t>Effect #3: </a:t>
            </a:r>
            <a:r>
              <a:rPr lang="nl-NL" altLang="nl-NL" dirty="0" err="1" smtClean="0"/>
              <a:t>Qtype</a:t>
            </a:r>
            <a:r>
              <a:rPr lang="nl-NL" altLang="nl-NL" dirty="0" smtClean="0"/>
              <a:t> Distribution</a:t>
            </a:r>
            <a:endParaRPr lang="nl-NL" dirty="0"/>
          </a:p>
        </p:txBody>
      </p:sp>
      <p:sp>
        <p:nvSpPr>
          <p:cNvPr id="4" name="Tijdelijke aanduiding voor verticale tekst 3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lvl="2" indent="0">
              <a:buNone/>
            </a:pPr>
            <a:r>
              <a:rPr lang="en-GB" dirty="0" smtClean="0"/>
              <a:t>NS1:</a:t>
            </a:r>
          </a:p>
          <a:p>
            <a:r>
              <a:rPr lang="en-GB" sz="2000" dirty="0" smtClean="0"/>
              <a:t>QTYPE ∆</a:t>
            </a:r>
          </a:p>
          <a:p>
            <a:r>
              <a:rPr lang="en-GB" sz="2000" dirty="0" smtClean="0"/>
              <a:t>A: 	+14%</a:t>
            </a:r>
          </a:p>
          <a:p>
            <a:r>
              <a:rPr lang="en-GB" sz="2000" dirty="0" smtClean="0"/>
              <a:t>AAAA: 	+9%</a:t>
            </a:r>
          </a:p>
          <a:p>
            <a:r>
              <a:rPr lang="en-GB" sz="2000" dirty="0" smtClean="0"/>
              <a:t>NS: 	+75%</a:t>
            </a:r>
          </a:p>
          <a:p>
            <a:r>
              <a:rPr lang="en-GB" sz="2000" dirty="0" smtClean="0"/>
              <a:t>MX:	+19%</a:t>
            </a:r>
          </a:p>
          <a:p>
            <a:endParaRPr lang="en-GB" sz="2000" dirty="0" smtClean="0"/>
          </a:p>
          <a:p>
            <a:r>
              <a:rPr lang="en-GB" sz="2000" dirty="0" smtClean="0"/>
              <a:t>As expected the NS QTYPE</a:t>
            </a:r>
            <a:br>
              <a:rPr lang="en-GB" sz="2000" dirty="0" smtClean="0"/>
            </a:br>
            <a:r>
              <a:rPr lang="en-GB" sz="2000" dirty="0" smtClean="0"/>
              <a:t>shows largest increase</a:t>
            </a:r>
            <a:endParaRPr lang="en-GB" sz="2000" dirty="0"/>
          </a:p>
        </p:txBody>
      </p:sp>
      <p:sp>
        <p:nvSpPr>
          <p:cNvPr id="3" name="TextBox 2"/>
          <p:cNvSpPr txBox="1"/>
          <p:nvPr/>
        </p:nvSpPr>
        <p:spPr>
          <a:xfrm>
            <a:off x="3535680" y="57912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l-NL" dirty="0"/>
          </a:p>
        </p:txBody>
      </p:sp>
      <p:cxnSp>
        <p:nvCxnSpPr>
          <p:cNvPr id="8" name="Straight Arrow Connector 7"/>
          <p:cNvCxnSpPr/>
          <p:nvPr/>
        </p:nvCxnSpPr>
        <p:spPr>
          <a:xfrm flipH="1" flipV="1">
            <a:off x="6864415" y="5364869"/>
            <a:ext cx="3745" cy="599051"/>
          </a:xfrm>
          <a:prstGeom prst="straightConnector1">
            <a:avLst/>
          </a:prstGeom>
          <a:ln w="38100" cmpd="sng"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6675120" y="6055360"/>
            <a:ext cx="13862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 smtClean="0">
                <a:solidFill>
                  <a:schemeClr val="bg2">
                    <a:lumMod val="75000"/>
                  </a:schemeClr>
                </a:solidFill>
              </a:rPr>
              <a:t>TTL change</a:t>
            </a:r>
            <a:endParaRPr lang="nl-NL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064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ns2-weekday-qtype-queries (1)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00" y="1260000"/>
            <a:ext cx="9360000" cy="468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altLang="nl-NL" dirty="0"/>
              <a:t>Effect </a:t>
            </a:r>
            <a:r>
              <a:rPr lang="nl-NL" altLang="nl-NL" dirty="0" smtClean="0"/>
              <a:t>#3: </a:t>
            </a:r>
            <a:r>
              <a:rPr lang="nl-NL" altLang="nl-NL" dirty="0" err="1"/>
              <a:t>Qtype</a:t>
            </a:r>
            <a:r>
              <a:rPr lang="nl-NL" altLang="nl-NL" dirty="0"/>
              <a:t> Distribution</a:t>
            </a:r>
            <a:endParaRPr lang="nl-NL" dirty="0"/>
          </a:p>
        </p:txBody>
      </p:sp>
      <p:sp>
        <p:nvSpPr>
          <p:cNvPr id="4" name="Tijdelijke aanduiding voor verticale tekst 3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lvl="2" indent="0">
              <a:buNone/>
            </a:pPr>
            <a:r>
              <a:rPr lang="nl-NL" dirty="0" smtClean="0"/>
              <a:t>NS2:</a:t>
            </a:r>
          </a:p>
          <a:p>
            <a:r>
              <a:rPr lang="nl-NL" sz="2000" dirty="0"/>
              <a:t>QTYPE ∆</a:t>
            </a:r>
          </a:p>
          <a:p>
            <a:r>
              <a:rPr lang="nl-NL" sz="2000" dirty="0" smtClean="0"/>
              <a:t>A</a:t>
            </a:r>
            <a:r>
              <a:rPr lang="nl-NL" sz="2000" dirty="0"/>
              <a:t>: 	+</a:t>
            </a:r>
            <a:r>
              <a:rPr lang="nl-NL" sz="2000" dirty="0" smtClean="0"/>
              <a:t>23%</a:t>
            </a:r>
            <a:endParaRPr lang="nl-NL" sz="2000" dirty="0"/>
          </a:p>
          <a:p>
            <a:r>
              <a:rPr lang="nl-NL" sz="2000" dirty="0"/>
              <a:t>AAAA: 	</a:t>
            </a:r>
            <a:r>
              <a:rPr lang="nl-NL" sz="2000" dirty="0" smtClean="0"/>
              <a:t>+6%</a:t>
            </a:r>
            <a:endParaRPr lang="nl-NL" sz="2000" dirty="0"/>
          </a:p>
          <a:p>
            <a:r>
              <a:rPr lang="nl-NL" sz="2000" dirty="0"/>
              <a:t>NS: 	</a:t>
            </a:r>
            <a:r>
              <a:rPr lang="nl-NL" sz="2000" dirty="0" smtClean="0"/>
              <a:t>+85%%</a:t>
            </a:r>
            <a:endParaRPr lang="nl-NL" sz="2000" dirty="0"/>
          </a:p>
          <a:p>
            <a:r>
              <a:rPr lang="nl-NL" sz="2000" dirty="0"/>
              <a:t>MX:	</a:t>
            </a:r>
            <a:r>
              <a:rPr lang="nl-NL" sz="2000" dirty="0" smtClean="0"/>
              <a:t>+13%</a:t>
            </a:r>
            <a:endParaRPr lang="nl-NL" sz="2000" dirty="0"/>
          </a:p>
          <a:p>
            <a:pPr marL="0" lvl="2" indent="0">
              <a:buNone/>
            </a:pPr>
            <a:endParaRPr lang="nl-NL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3535680" y="57912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l-NL" dirty="0"/>
          </a:p>
        </p:txBody>
      </p:sp>
      <p:cxnSp>
        <p:nvCxnSpPr>
          <p:cNvPr id="7" name="Straight Arrow Connector 6"/>
          <p:cNvCxnSpPr/>
          <p:nvPr/>
        </p:nvCxnSpPr>
        <p:spPr>
          <a:xfrm flipH="1" flipV="1">
            <a:off x="6842519" y="5397715"/>
            <a:ext cx="10921" cy="596686"/>
          </a:xfrm>
          <a:prstGeom prst="straightConnector1">
            <a:avLst/>
          </a:prstGeom>
          <a:ln w="38100" cmpd="sng"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660400" y="6085840"/>
            <a:ext cx="13862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 smtClean="0">
                <a:solidFill>
                  <a:schemeClr val="bg2">
                    <a:lumMod val="75000"/>
                  </a:schemeClr>
                </a:solidFill>
              </a:rPr>
              <a:t>TTL change</a:t>
            </a:r>
            <a:endParaRPr lang="nl-NL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163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nxdomain-queries-ns1-2015-2016 (1)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00" y="1260000"/>
            <a:ext cx="9360000" cy="468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nl-NL" dirty="0" smtClean="0"/>
              <a:t>Effect #4: Increase in NXDOMAIN Responses</a:t>
            </a:r>
            <a:endParaRPr lang="en-GB" dirty="0"/>
          </a:p>
        </p:txBody>
      </p:sp>
      <p:sp>
        <p:nvSpPr>
          <p:cNvPr id="4" name="Tijdelijke aanduiding voor verticale tekst 3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lvl="2" indent="0">
              <a:buNone/>
            </a:pPr>
            <a:endParaRPr lang="en-GB" dirty="0" smtClean="0"/>
          </a:p>
          <a:p>
            <a:pPr marL="0" lvl="2" indent="0">
              <a:buNone/>
            </a:pPr>
            <a:r>
              <a:rPr lang="en-GB" dirty="0" smtClean="0"/>
              <a:t>NS1: ~ +30% </a:t>
            </a:r>
          </a:p>
          <a:p>
            <a:pPr marL="0" lvl="2" indent="0">
              <a:buNone/>
            </a:pPr>
            <a:endParaRPr lang="en-GB" dirty="0" smtClean="0"/>
          </a:p>
          <a:p>
            <a:pPr marL="0" lvl="2" indent="0">
              <a:buNone/>
            </a:pPr>
            <a:endParaRPr lang="en-GB" dirty="0" smtClean="0"/>
          </a:p>
          <a:p>
            <a:pPr marL="0" lvl="2" indent="0">
              <a:buNone/>
            </a:pPr>
            <a:endParaRPr lang="en-GB" dirty="0" smtClean="0"/>
          </a:p>
          <a:p>
            <a:pPr marL="0" lvl="2" indent="0">
              <a:buNone/>
            </a:pPr>
            <a:endParaRPr lang="en-GB" dirty="0" smtClean="0"/>
          </a:p>
          <a:p>
            <a:pPr marL="0" lvl="2" indent="0">
              <a:buNone/>
            </a:pPr>
            <a:r>
              <a:rPr lang="en-GB" dirty="0" smtClean="0"/>
              <a:t>Relatively small increase</a:t>
            </a:r>
          </a:p>
          <a:p>
            <a:pPr marL="0" lvl="2" indent="0">
              <a:buNone/>
            </a:pPr>
            <a:r>
              <a:rPr lang="en-GB" dirty="0" smtClean="0"/>
              <a:t>in NXDOMAINS</a:t>
            </a:r>
          </a:p>
          <a:p>
            <a:pPr marL="0" lvl="2" indent="0">
              <a:buNone/>
            </a:pPr>
            <a:endParaRPr lang="en-GB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3535680" y="57912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l-NL" dirty="0"/>
          </a:p>
        </p:txBody>
      </p:sp>
      <p:cxnSp>
        <p:nvCxnSpPr>
          <p:cNvPr id="6" name="Straight Arrow Connector 5"/>
          <p:cNvCxnSpPr/>
          <p:nvPr/>
        </p:nvCxnSpPr>
        <p:spPr>
          <a:xfrm flipV="1">
            <a:off x="6918960" y="5397715"/>
            <a:ext cx="195" cy="596685"/>
          </a:xfrm>
          <a:prstGeom prst="straightConnector1">
            <a:avLst/>
          </a:prstGeom>
          <a:ln w="38100" cmpd="sng"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6725920" y="6085840"/>
            <a:ext cx="13862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 smtClean="0">
                <a:solidFill>
                  <a:schemeClr val="bg2">
                    <a:lumMod val="75000"/>
                  </a:schemeClr>
                </a:solidFill>
              </a:rPr>
              <a:t>TTL change</a:t>
            </a:r>
            <a:endParaRPr lang="nl-NL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9833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nxdomain-queries-ns2-2015-2016 (1)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00" y="1260000"/>
            <a:ext cx="9360000" cy="468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nl-NL" dirty="0" smtClean="0"/>
              <a:t>Effect #4: Increase in NXDOMAIN Responses</a:t>
            </a:r>
            <a:endParaRPr lang="en-GB" dirty="0"/>
          </a:p>
        </p:txBody>
      </p:sp>
      <p:sp>
        <p:nvSpPr>
          <p:cNvPr id="4" name="Tijdelijke aanduiding voor verticale tekst 3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lvl="2" indent="0">
              <a:buNone/>
            </a:pPr>
            <a:endParaRPr lang="nl-NL" dirty="0" smtClean="0"/>
          </a:p>
          <a:p>
            <a:pPr marL="0" lvl="2" indent="0">
              <a:buNone/>
            </a:pPr>
            <a:r>
              <a:rPr lang="nl-NL" dirty="0" smtClean="0"/>
              <a:t>NS2</a:t>
            </a:r>
            <a:r>
              <a:rPr lang="nl-NL" dirty="0"/>
              <a:t>: ~ </a:t>
            </a:r>
            <a:r>
              <a:rPr lang="nl-NL" dirty="0" smtClean="0"/>
              <a:t>+24%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535680" y="57912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l-NL" dirty="0"/>
          </a:p>
        </p:txBody>
      </p:sp>
      <p:cxnSp>
        <p:nvCxnSpPr>
          <p:cNvPr id="7" name="Straight Arrow Connector 6"/>
          <p:cNvCxnSpPr/>
          <p:nvPr/>
        </p:nvCxnSpPr>
        <p:spPr>
          <a:xfrm flipV="1">
            <a:off x="6634480" y="5419613"/>
            <a:ext cx="26" cy="574787"/>
          </a:xfrm>
          <a:prstGeom prst="straightConnector1">
            <a:avLst/>
          </a:prstGeom>
          <a:ln w="38100" cmpd="sng"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441440" y="6085840"/>
            <a:ext cx="13862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 smtClean="0">
                <a:solidFill>
                  <a:schemeClr val="bg2">
                    <a:lumMod val="75000"/>
                  </a:schemeClr>
                </a:solidFill>
              </a:rPr>
              <a:t>TTL change</a:t>
            </a:r>
            <a:endParaRPr lang="nl-NL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830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omainers (1)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00" y="1260000"/>
            <a:ext cx="9360000" cy="468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altLang="nl-NL" dirty="0" smtClean="0"/>
              <a:t>Effect #5: </a:t>
            </a:r>
            <a:r>
              <a:rPr lang="nl-NL" altLang="nl-NL" dirty="0" err="1" smtClean="0"/>
              <a:t>Domainer</a:t>
            </a:r>
            <a:r>
              <a:rPr lang="nl-NL" altLang="nl-NL" dirty="0" smtClean="0"/>
              <a:t> </a:t>
            </a:r>
            <a:r>
              <a:rPr lang="nl-NL" altLang="nl-NL" dirty="0"/>
              <a:t>A</a:t>
            </a:r>
            <a:r>
              <a:rPr lang="nl-NL" altLang="nl-NL" dirty="0" smtClean="0"/>
              <a:t>ctivity</a:t>
            </a:r>
            <a:endParaRPr lang="nl-NL" dirty="0"/>
          </a:p>
        </p:txBody>
      </p:sp>
      <p:sp>
        <p:nvSpPr>
          <p:cNvPr id="4" name="Tijdelijke aanduiding voor verticale tekst 3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lvl="2" indent="0">
              <a:buNone/>
            </a:pPr>
            <a:endParaRPr lang="en-GB" dirty="0" smtClean="0"/>
          </a:p>
          <a:p>
            <a:pPr marL="0" lvl="2" indent="0">
              <a:buNone/>
            </a:pPr>
            <a:endParaRPr lang="en-GB" dirty="0" smtClean="0"/>
          </a:p>
          <a:p>
            <a:pPr marL="0" lvl="2" indent="0">
              <a:buNone/>
            </a:pPr>
            <a:endParaRPr lang="en-GB" dirty="0" smtClean="0"/>
          </a:p>
          <a:p>
            <a:pPr marL="0" lvl="2" indent="0">
              <a:buNone/>
            </a:pPr>
            <a:endParaRPr lang="en-GB" dirty="0" smtClean="0"/>
          </a:p>
          <a:p>
            <a:pPr marL="0" lvl="2" indent="0">
              <a:buNone/>
            </a:pPr>
            <a:endParaRPr lang="en-GB" dirty="0" smtClean="0"/>
          </a:p>
          <a:p>
            <a:pPr marL="0" lvl="2" indent="0">
              <a:buNone/>
            </a:pPr>
            <a:endParaRPr lang="en-GB" dirty="0" smtClean="0"/>
          </a:p>
          <a:p>
            <a:pPr marL="0" lvl="2" indent="0">
              <a:buNone/>
            </a:pPr>
            <a:r>
              <a:rPr lang="en-GB" dirty="0" err="1" smtClean="0"/>
              <a:t>Domainers</a:t>
            </a:r>
            <a:r>
              <a:rPr lang="en-GB" dirty="0" smtClean="0"/>
              <a:t> cause</a:t>
            </a:r>
          </a:p>
          <a:p>
            <a:pPr marL="0" lvl="2" indent="0">
              <a:buNone/>
            </a:pPr>
            <a:r>
              <a:rPr lang="en-GB" dirty="0" smtClean="0"/>
              <a:t>more traffic peaks 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535680" y="57912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l-NL" dirty="0"/>
          </a:p>
        </p:txBody>
      </p:sp>
      <p:cxnSp>
        <p:nvCxnSpPr>
          <p:cNvPr id="6" name="Straight Arrow Connector 5"/>
          <p:cNvCxnSpPr/>
          <p:nvPr/>
        </p:nvCxnSpPr>
        <p:spPr>
          <a:xfrm flipV="1">
            <a:off x="7421528" y="5605741"/>
            <a:ext cx="1236" cy="574748"/>
          </a:xfrm>
          <a:prstGeom prst="straightConnector1">
            <a:avLst/>
          </a:prstGeom>
          <a:ln w="38100" cmpd="sng"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7228488" y="6195286"/>
            <a:ext cx="13862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 smtClean="0">
                <a:solidFill>
                  <a:schemeClr val="bg2">
                    <a:lumMod val="75000"/>
                  </a:schemeClr>
                </a:solidFill>
              </a:rPr>
              <a:t>TTL change</a:t>
            </a:r>
            <a:endParaRPr lang="nl-NL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550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altLang="nl-NL" dirty="0" err="1" smtClean="0"/>
              <a:t>Conclusions</a:t>
            </a:r>
            <a:r>
              <a:rPr lang="nl-NL" altLang="nl-NL" dirty="0" smtClean="0"/>
              <a:t> </a:t>
            </a:r>
            <a:r>
              <a:rPr lang="nl-NL" altLang="nl-NL" dirty="0" err="1" smtClean="0"/>
              <a:t>and</a:t>
            </a:r>
            <a:r>
              <a:rPr lang="nl-NL" altLang="nl-NL" dirty="0" smtClean="0"/>
              <a:t> </a:t>
            </a:r>
            <a:r>
              <a:rPr lang="nl-NL" altLang="nl-NL" dirty="0" err="1"/>
              <a:t>D</a:t>
            </a:r>
            <a:r>
              <a:rPr lang="nl-NL" altLang="nl-NL" dirty="0" err="1" smtClean="0"/>
              <a:t>iscussion</a:t>
            </a:r>
            <a:endParaRPr lang="nl-NL" dirty="0"/>
          </a:p>
        </p:txBody>
      </p:sp>
      <p:sp>
        <p:nvSpPr>
          <p:cNvPr id="4" name="Tijdelijke aanduiding voor verticale tekst 3"/>
          <p:cNvSpPr>
            <a:spLocks noGrp="1"/>
          </p:cNvSpPr>
          <p:nvPr>
            <p:ph type="body" orient="vert" idx="1"/>
          </p:nvPr>
        </p:nvSpPr>
        <p:spPr>
          <a:xfrm>
            <a:off x="458928" y="1092200"/>
            <a:ext cx="10270141" cy="5044439"/>
          </a:xfrm>
        </p:spPr>
        <p:txBody>
          <a:bodyPr/>
          <a:lstStyle/>
          <a:p>
            <a:pPr marL="285750" indent="-285750">
              <a:buFont typeface="Arial"/>
              <a:buChar char="•"/>
            </a:pPr>
            <a:r>
              <a:rPr lang="en-GB" sz="2000" dirty="0" smtClean="0"/>
              <a:t>No significant impact on the operational DNS infrastructure</a:t>
            </a:r>
          </a:p>
          <a:p>
            <a:pPr marL="463550" lvl="2" indent="-285750">
              <a:buFont typeface="Arial"/>
              <a:buChar char="•"/>
            </a:pPr>
            <a:r>
              <a:rPr lang="en-GB" dirty="0"/>
              <a:t>TLD-level TTL is most likely overruled by TTL from authoritatives</a:t>
            </a:r>
          </a:p>
          <a:p>
            <a:pPr marL="463550" lvl="2" indent="-285750">
              <a:buFont typeface="Arial"/>
              <a:buChar char="•"/>
            </a:pPr>
            <a:r>
              <a:rPr lang="en-GB" dirty="0"/>
              <a:t>Total data volume has not doubled</a:t>
            </a:r>
          </a:p>
          <a:p>
            <a:pPr marL="463550" lvl="2" indent="-285750">
              <a:buFont typeface="Arial"/>
              <a:buChar char="•"/>
            </a:pPr>
            <a:r>
              <a:rPr lang="en-GB" dirty="0" smtClean="0"/>
              <a:t>NS </a:t>
            </a:r>
            <a:r>
              <a:rPr lang="en-GB" dirty="0"/>
              <a:t>QTYPE shows largest increase</a:t>
            </a:r>
          </a:p>
          <a:p>
            <a:pPr marL="463550" lvl="2" indent="-285750">
              <a:buFont typeface="Arial"/>
              <a:buChar char="•"/>
            </a:pPr>
            <a:r>
              <a:rPr lang="en-GB" dirty="0"/>
              <a:t>Small NXDOMAIN increase</a:t>
            </a:r>
          </a:p>
          <a:p>
            <a:pPr marL="463550" lvl="2" indent="-285750">
              <a:buFont typeface="Arial"/>
              <a:buChar char="•"/>
            </a:pPr>
            <a:r>
              <a:rPr lang="en-GB" dirty="0" smtClean="0"/>
              <a:t>Doubled </a:t>
            </a:r>
            <a:r>
              <a:rPr lang="en-GB" dirty="0" err="1" smtClean="0"/>
              <a:t>domainer</a:t>
            </a:r>
            <a:r>
              <a:rPr lang="en-GB" dirty="0" smtClean="0"/>
              <a:t> query peaks</a:t>
            </a:r>
          </a:p>
          <a:p>
            <a:pPr marL="285750" indent="-285750">
              <a:buFont typeface="Arial"/>
              <a:buChar char="•"/>
            </a:pPr>
            <a:endParaRPr lang="en-GB" sz="2000" dirty="0" smtClean="0"/>
          </a:p>
          <a:p>
            <a:pPr marL="285750" indent="-285750">
              <a:buFont typeface="Arial"/>
              <a:buChar char="•"/>
            </a:pPr>
            <a:r>
              <a:rPr lang="en-GB" sz="2000" dirty="0" smtClean="0"/>
              <a:t>ENTRADA proved to be very useful for measuring the effect of DNS policy changes</a:t>
            </a:r>
          </a:p>
          <a:p>
            <a:pPr marL="285750" indent="-285750">
              <a:buFont typeface="Arial"/>
              <a:buChar char="•"/>
            </a:pPr>
            <a:r>
              <a:rPr lang="en-GB" sz="2000" dirty="0"/>
              <a:t>We are interested </a:t>
            </a:r>
            <a:r>
              <a:rPr lang="en-GB" sz="2000" dirty="0" smtClean="0"/>
              <a:t>in the experiences </a:t>
            </a:r>
            <a:r>
              <a:rPr lang="en-GB" sz="2000" dirty="0"/>
              <a:t>of other </a:t>
            </a:r>
            <a:r>
              <a:rPr lang="en-GB" sz="2000" dirty="0" smtClean="0"/>
              <a:t>DNS operators and registries</a:t>
            </a:r>
            <a:endParaRPr lang="en-GB" sz="2000" dirty="0"/>
          </a:p>
        </p:txBody>
      </p:sp>
      <p:sp>
        <p:nvSpPr>
          <p:cNvPr id="3" name="TextBox 2"/>
          <p:cNvSpPr txBox="1"/>
          <p:nvPr/>
        </p:nvSpPr>
        <p:spPr>
          <a:xfrm>
            <a:off x="3535680" y="57912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51590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3207" y="1162318"/>
            <a:ext cx="7008945" cy="4570416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Now</a:t>
            </a:r>
            <a:r>
              <a:rPr lang="nl-NL" dirty="0" smtClean="0"/>
              <a:t> </a:t>
            </a:r>
            <a:r>
              <a:rPr lang="nl-NL" dirty="0" err="1"/>
              <a:t>A</a:t>
            </a:r>
            <a:r>
              <a:rPr lang="nl-NL" dirty="0" err="1" smtClean="0"/>
              <a:t>vailable</a:t>
            </a:r>
            <a:r>
              <a:rPr lang="nl-NL" dirty="0" smtClean="0"/>
              <a:t> as Open </a:t>
            </a:r>
            <a:r>
              <a:rPr lang="nl-NL" dirty="0"/>
              <a:t>S</a:t>
            </a:r>
            <a:r>
              <a:rPr lang="nl-NL" dirty="0" smtClean="0"/>
              <a:t>ource!</a:t>
            </a:r>
            <a:endParaRPr lang="nl-NL" dirty="0"/>
          </a:p>
        </p:txBody>
      </p:sp>
      <p:sp>
        <p:nvSpPr>
          <p:cNvPr id="7" name="TextBox 6"/>
          <p:cNvSpPr txBox="1"/>
          <p:nvPr/>
        </p:nvSpPr>
        <p:spPr>
          <a:xfrm>
            <a:off x="5130800" y="608584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l-NL" dirty="0"/>
          </a:p>
        </p:txBody>
      </p:sp>
      <p:sp>
        <p:nvSpPr>
          <p:cNvPr id="10" name="TextBox 9"/>
          <p:cNvSpPr txBox="1"/>
          <p:nvPr/>
        </p:nvSpPr>
        <p:spPr>
          <a:xfrm>
            <a:off x="4886960" y="5943600"/>
            <a:ext cx="21467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 err="1" smtClean="0">
                <a:solidFill>
                  <a:schemeClr val="bg1">
                    <a:lumMod val="50000"/>
                  </a:schemeClr>
                </a:solidFill>
              </a:rPr>
              <a:t>entrada.sidnlabs.nl</a:t>
            </a:r>
            <a:endParaRPr lang="nl-NL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350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Questions</a:t>
            </a:r>
            <a:r>
              <a:rPr lang="nl-NL" dirty="0" smtClean="0"/>
              <a:t>?</a:t>
            </a:r>
            <a:endParaRPr lang="en-GB" dirty="0"/>
          </a:p>
        </p:txBody>
      </p:sp>
      <p:sp>
        <p:nvSpPr>
          <p:cNvPr id="11" name="Rectangle 10"/>
          <p:cNvSpPr/>
          <p:nvPr/>
        </p:nvSpPr>
        <p:spPr>
          <a:xfrm>
            <a:off x="345440" y="1323072"/>
            <a:ext cx="3616960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0">
              <a:buNone/>
            </a:pPr>
            <a:r>
              <a:rPr lang="nl-NL" sz="2200" dirty="0">
                <a:solidFill>
                  <a:srgbClr val="656565"/>
                </a:solidFill>
              </a:rPr>
              <a:t>Maarten Wullink</a:t>
            </a:r>
          </a:p>
          <a:p>
            <a:pPr marL="0" lvl="1" indent="0">
              <a:buNone/>
            </a:pPr>
            <a:r>
              <a:rPr lang="nl-NL" sz="2200" dirty="0">
                <a:solidFill>
                  <a:srgbClr val="656565"/>
                </a:solidFill>
              </a:rPr>
              <a:t>Research </a:t>
            </a:r>
            <a:r>
              <a:rPr lang="nl-NL" sz="2200" dirty="0" smtClean="0">
                <a:solidFill>
                  <a:srgbClr val="656565"/>
                </a:solidFill>
              </a:rPr>
              <a:t>Engineer</a:t>
            </a:r>
          </a:p>
          <a:p>
            <a:pPr marL="0" lvl="1" indent="0">
              <a:buNone/>
            </a:pPr>
            <a:endParaRPr lang="nl-NL" sz="2200" dirty="0">
              <a:solidFill>
                <a:srgbClr val="656565"/>
              </a:solidFill>
            </a:endParaRPr>
          </a:p>
          <a:p>
            <a:pPr marL="0" lvl="1" indent="0">
              <a:buNone/>
            </a:pPr>
            <a:r>
              <a:rPr lang="nl-NL" sz="2200" dirty="0" err="1">
                <a:solidFill>
                  <a:srgbClr val="656565"/>
                </a:solidFill>
              </a:rPr>
              <a:t>maarten.wullink@sidn.nl</a:t>
            </a:r>
            <a:endParaRPr lang="nl-NL" sz="2200" dirty="0">
              <a:solidFill>
                <a:srgbClr val="656565"/>
              </a:solidFill>
            </a:endParaRPr>
          </a:p>
          <a:p>
            <a:pPr marL="0" lvl="1" indent="0">
              <a:buNone/>
            </a:pPr>
            <a:r>
              <a:rPr lang="nl-NL" sz="2200" dirty="0">
                <a:solidFill>
                  <a:srgbClr val="656565"/>
                </a:solidFill>
              </a:rPr>
              <a:t>      @</a:t>
            </a:r>
            <a:r>
              <a:rPr lang="nl-NL" sz="2200" dirty="0" err="1">
                <a:solidFill>
                  <a:srgbClr val="656565"/>
                </a:solidFill>
              </a:rPr>
              <a:t>wulliak</a:t>
            </a:r>
            <a:endParaRPr lang="nl-NL" sz="2200" dirty="0">
              <a:solidFill>
                <a:srgbClr val="656565"/>
              </a:solidFill>
            </a:endParaRPr>
          </a:p>
          <a:p>
            <a:pPr marL="0" lvl="1" indent="0">
              <a:buNone/>
            </a:pPr>
            <a:r>
              <a:rPr lang="nl-NL" sz="2200" dirty="0" err="1">
                <a:solidFill>
                  <a:srgbClr val="656565"/>
                </a:solidFill>
              </a:rPr>
              <a:t>www.sidnlabs.n</a:t>
            </a:r>
            <a:r>
              <a:rPr lang="nl-NL" sz="2000" dirty="0" err="1"/>
              <a:t>l</a:t>
            </a:r>
            <a:endParaRPr lang="nl-NL" sz="2000" dirty="0"/>
          </a:p>
        </p:txBody>
      </p:sp>
      <p:pic>
        <p:nvPicPr>
          <p:cNvPr id="19" name="Afbeelding 2" descr="Twitter_logo_blue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45" y="2759350"/>
            <a:ext cx="385736" cy="31360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37660" y="1076960"/>
            <a:ext cx="6594534" cy="474472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44532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altLang="nl-NL" dirty="0" smtClean="0"/>
              <a:t>SIDN</a:t>
            </a:r>
            <a:endParaRPr lang="nl-NL" dirty="0"/>
          </a:p>
        </p:txBody>
      </p:sp>
      <p:sp>
        <p:nvSpPr>
          <p:cNvPr id="5" name="Tijdelijke aanduiding voor verticale tekst 4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lvl="2">
              <a:lnSpc>
                <a:spcPct val="50000"/>
              </a:lnSpc>
              <a:buFont typeface="Arial"/>
              <a:buChar char="•"/>
            </a:pPr>
            <a:r>
              <a:rPr lang="en-GB" dirty="0" smtClean="0"/>
              <a:t>Domain name registry for the .</a:t>
            </a:r>
            <a:r>
              <a:rPr lang="en-GB" dirty="0" err="1" smtClean="0"/>
              <a:t>nl</a:t>
            </a:r>
            <a:r>
              <a:rPr lang="en-GB" dirty="0" smtClean="0"/>
              <a:t> </a:t>
            </a:r>
            <a:r>
              <a:rPr lang="en-GB" dirty="0" err="1" smtClean="0"/>
              <a:t>ccTLD</a:t>
            </a:r>
            <a:r>
              <a:rPr lang="en-GB" dirty="0" smtClean="0"/>
              <a:t> of the Netherlands</a:t>
            </a:r>
          </a:p>
          <a:p>
            <a:pPr lvl="2">
              <a:lnSpc>
                <a:spcPct val="50000"/>
              </a:lnSpc>
              <a:buFont typeface="Arial"/>
              <a:buChar char="•"/>
            </a:pPr>
            <a:endParaRPr lang="en-GB" dirty="0" smtClean="0"/>
          </a:p>
          <a:p>
            <a:pPr lvl="2">
              <a:lnSpc>
                <a:spcPct val="50000"/>
              </a:lnSpc>
              <a:buFont typeface="Arial"/>
              <a:buChar char="•"/>
            </a:pPr>
            <a:endParaRPr lang="en-GB" dirty="0" smtClean="0"/>
          </a:p>
          <a:p>
            <a:pPr lvl="2">
              <a:lnSpc>
                <a:spcPct val="50000"/>
              </a:lnSpc>
              <a:buFont typeface="Arial"/>
              <a:buChar char="•"/>
            </a:pPr>
            <a:r>
              <a:rPr lang="en-GB" dirty="0" smtClean="0"/>
              <a:t>5,6 million domain names</a:t>
            </a:r>
          </a:p>
          <a:p>
            <a:pPr lvl="2">
              <a:lnSpc>
                <a:spcPct val="50000"/>
              </a:lnSpc>
              <a:buFont typeface="Arial"/>
              <a:buChar char="•"/>
            </a:pPr>
            <a:endParaRPr lang="en-GB" dirty="0" smtClean="0"/>
          </a:p>
          <a:p>
            <a:pPr lvl="2">
              <a:lnSpc>
                <a:spcPct val="50000"/>
              </a:lnSpc>
              <a:buFont typeface="Arial"/>
              <a:buChar char="•"/>
            </a:pPr>
            <a:endParaRPr lang="en-GB" dirty="0" smtClean="0"/>
          </a:p>
          <a:p>
            <a:pPr lvl="2">
              <a:lnSpc>
                <a:spcPct val="50000"/>
              </a:lnSpc>
              <a:buFont typeface="Arial"/>
              <a:buChar char="•"/>
            </a:pPr>
            <a:r>
              <a:rPr lang="en-GB" dirty="0" smtClean="0"/>
              <a:t>.</a:t>
            </a:r>
            <a:r>
              <a:rPr lang="en-GB" dirty="0" err="1" smtClean="0"/>
              <a:t>nl</a:t>
            </a:r>
            <a:r>
              <a:rPr lang="en-GB" dirty="0" smtClean="0"/>
              <a:t> is the largest DNSSEC signed zone in the world in absolute numbers</a:t>
            </a:r>
          </a:p>
          <a:p>
            <a:pPr lvl="2">
              <a:lnSpc>
                <a:spcPct val="50000"/>
              </a:lnSpc>
              <a:buFont typeface="Arial"/>
              <a:buChar char="•"/>
            </a:pPr>
            <a:endParaRPr lang="en-GB" dirty="0" smtClean="0"/>
          </a:p>
          <a:p>
            <a:pPr lvl="2">
              <a:lnSpc>
                <a:spcPct val="50000"/>
              </a:lnSpc>
              <a:buFont typeface="Arial"/>
              <a:buChar char="•"/>
            </a:pPr>
            <a:endParaRPr lang="en-GB" dirty="0" smtClean="0"/>
          </a:p>
          <a:p>
            <a:pPr lvl="2">
              <a:lnSpc>
                <a:spcPct val="50000"/>
              </a:lnSpc>
              <a:buFont typeface="Arial"/>
              <a:buChar char="•"/>
            </a:pPr>
            <a:r>
              <a:rPr lang="en-GB" dirty="0" smtClean="0"/>
              <a:t>SIDN Labs is the R&amp;D team of SIDN</a:t>
            </a:r>
          </a:p>
          <a:p>
            <a:pPr lvl="2">
              <a:buFont typeface="Arial"/>
              <a:buChar char="•"/>
            </a:pPr>
            <a:endParaRPr lang="en-GB" dirty="0" smtClean="0"/>
          </a:p>
          <a:p>
            <a:pPr lvl="2">
              <a:buFont typeface="Arial"/>
              <a:buChar char="•"/>
            </a:pPr>
            <a:endParaRPr lang="en-GB" dirty="0" smtClean="0"/>
          </a:p>
          <a:p>
            <a:pPr lvl="2">
              <a:buFont typeface="Arial"/>
              <a:buChar char="•"/>
            </a:pPr>
            <a:endParaRPr lang="en-GB" dirty="0" smtClean="0"/>
          </a:p>
          <a:p>
            <a:pPr marL="0" lvl="2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2342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altLang="nl-NL" dirty="0" smtClean="0"/>
              <a:t>TTL Change </a:t>
            </a:r>
            <a:r>
              <a:rPr lang="nl-NL" altLang="nl-NL" dirty="0" err="1" smtClean="0"/>
              <a:t>for</a:t>
            </a:r>
            <a:r>
              <a:rPr lang="nl-NL" altLang="nl-NL" dirty="0" smtClean="0"/>
              <a:t> .nl</a:t>
            </a:r>
            <a:endParaRPr lang="nl-NL" dirty="0"/>
          </a:p>
        </p:txBody>
      </p:sp>
      <p:sp>
        <p:nvSpPr>
          <p:cNvPr id="5" name="Tijdelijke aanduiding voor verticale tekst 4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lvl="2" indent="0">
              <a:buNone/>
            </a:pPr>
            <a:r>
              <a:rPr lang="en-GB" dirty="0" smtClean="0"/>
              <a:t>Why?</a:t>
            </a:r>
          </a:p>
          <a:p>
            <a:pPr lvl="3"/>
            <a:r>
              <a:rPr lang="en-GB" dirty="0" smtClean="0"/>
              <a:t>We changed the zone file update frequency from 2 hours to 1 hour</a:t>
            </a:r>
          </a:p>
          <a:p>
            <a:pPr lvl="3"/>
            <a:r>
              <a:rPr lang="en-GB" dirty="0" smtClean="0"/>
              <a:t>Requested by our registrars</a:t>
            </a:r>
          </a:p>
          <a:p>
            <a:pPr marL="0" lvl="2" indent="0">
              <a:buNone/>
            </a:pP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Changes:</a:t>
            </a:r>
          </a:p>
          <a:p>
            <a:pPr lvl="3"/>
            <a:r>
              <a:rPr lang="en-GB" dirty="0" smtClean="0"/>
              <a:t>Delegation TTL from 7200 to 3600 seconds</a:t>
            </a:r>
          </a:p>
          <a:p>
            <a:pPr lvl="3"/>
            <a:r>
              <a:rPr lang="en-GB" dirty="0" smtClean="0"/>
              <a:t>SOA NXDOMAIN TTL from 900 to 600 seconds</a:t>
            </a:r>
          </a:p>
          <a:p>
            <a:pPr marL="0" lvl="2" indent="0">
              <a:buNone/>
            </a:pP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Impact: What effects does this </a:t>
            </a:r>
            <a:r>
              <a:rPr lang="en-GB" dirty="0"/>
              <a:t>policy </a:t>
            </a:r>
            <a:r>
              <a:rPr lang="en-GB" dirty="0" smtClean="0"/>
              <a:t>change have on DNS traffic?</a:t>
            </a:r>
          </a:p>
          <a:p>
            <a:pPr lvl="3"/>
            <a:r>
              <a:rPr lang="en-GB" dirty="0" smtClean="0"/>
              <a:t>We used ENTRADA to measure the effects</a:t>
            </a:r>
          </a:p>
          <a:p>
            <a:pPr lvl="3"/>
            <a:r>
              <a:rPr lang="en-GB" dirty="0" smtClean="0"/>
              <a:t>We examined the impact on volume, QTYPE, NXDOMAIN and </a:t>
            </a:r>
            <a:r>
              <a:rPr lang="en-GB" dirty="0" err="1" smtClean="0"/>
              <a:t>domainer</a:t>
            </a:r>
            <a:r>
              <a:rPr lang="en-GB" dirty="0" smtClean="0"/>
              <a:t> activity</a:t>
            </a:r>
          </a:p>
          <a:p>
            <a:pPr lvl="2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2475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altLang="nl-NL" dirty="0" smtClean="0"/>
              <a:t>ENTRADA</a:t>
            </a:r>
            <a:endParaRPr lang="nl-NL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65879" y="1149598"/>
            <a:ext cx="6629400" cy="464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790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ENTRADA@SIDN Labs</a:t>
            </a:r>
            <a:endParaRPr lang="nl-NL" dirty="0"/>
          </a:p>
        </p:txBody>
      </p:sp>
      <p:sp>
        <p:nvSpPr>
          <p:cNvPr id="4" name="Tijdelijke aanduiding voor verticale tekst 3"/>
          <p:cNvSpPr>
            <a:spLocks noGrp="1"/>
          </p:cNvSpPr>
          <p:nvPr>
            <p:ph type="body" orient="vert" idx="1"/>
          </p:nvPr>
        </p:nvSpPr>
        <p:spPr>
          <a:xfrm>
            <a:off x="458928" y="1092201"/>
            <a:ext cx="9172751" cy="3987799"/>
          </a:xfrm>
        </p:spPr>
        <p:txBody>
          <a:bodyPr/>
          <a:lstStyle/>
          <a:p>
            <a:pPr marL="285750" indent="-285750">
              <a:buFont typeface="Arial"/>
              <a:buChar char="•"/>
            </a:pPr>
            <a:r>
              <a:rPr lang="en-GB" sz="2200" dirty="0" smtClean="0"/>
              <a:t>Operational for 2 years</a:t>
            </a:r>
          </a:p>
          <a:p>
            <a:pPr marL="285750" indent="-285750">
              <a:buFont typeface="Arial"/>
              <a:buChar char="•"/>
            </a:pPr>
            <a:endParaRPr lang="en-GB" sz="2200" dirty="0" smtClean="0"/>
          </a:p>
          <a:p>
            <a:pPr marL="285750" indent="-285750">
              <a:buFont typeface="Arial"/>
              <a:buChar char="•"/>
            </a:pPr>
            <a:r>
              <a:rPr lang="en-GB" sz="2200" dirty="0" smtClean="0"/>
              <a:t>Capturing data for 2 .</a:t>
            </a:r>
            <a:r>
              <a:rPr lang="en-GB" sz="2200" dirty="0" err="1" smtClean="0"/>
              <a:t>nl</a:t>
            </a:r>
            <a:r>
              <a:rPr lang="en-GB" sz="2200" dirty="0" smtClean="0"/>
              <a:t> name servers</a:t>
            </a:r>
          </a:p>
          <a:p>
            <a:pPr marL="285750" indent="-285750">
              <a:buFont typeface="Arial"/>
              <a:buChar char="•"/>
            </a:pPr>
            <a:endParaRPr lang="en-GB" sz="2200" dirty="0" smtClean="0"/>
          </a:p>
          <a:p>
            <a:pPr marL="285750" indent="-285750">
              <a:buFont typeface="Arial"/>
              <a:buChar char="•"/>
            </a:pPr>
            <a:r>
              <a:rPr lang="en-GB" sz="2200" dirty="0" smtClean="0"/>
              <a:t>130 Billion rows (DNS </a:t>
            </a:r>
            <a:r>
              <a:rPr lang="en-GB" sz="2200" dirty="0" err="1" smtClean="0"/>
              <a:t>query+response</a:t>
            </a:r>
            <a:r>
              <a:rPr lang="en-GB" sz="2200" dirty="0" smtClean="0"/>
              <a:t> pairs)</a:t>
            </a:r>
          </a:p>
          <a:p>
            <a:pPr marL="285750" indent="-285750">
              <a:buFont typeface="Arial"/>
              <a:buChar char="•"/>
            </a:pPr>
            <a:endParaRPr lang="en-GB" sz="2200" dirty="0" smtClean="0"/>
          </a:p>
          <a:p>
            <a:pPr marL="285750" indent="-285750">
              <a:buFont typeface="Arial"/>
              <a:buChar char="•"/>
            </a:pPr>
            <a:r>
              <a:rPr lang="en-GB" sz="2200" dirty="0" smtClean="0"/>
              <a:t>17 TB of data</a:t>
            </a:r>
          </a:p>
          <a:p>
            <a:pPr marL="0" lvl="2" indent="0">
              <a:buNone/>
            </a:pPr>
            <a:endParaRPr lang="en-GB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3535680" y="57912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770412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ll-queries-2015-2016 (1)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00" y="1260000"/>
            <a:ext cx="9360000" cy="468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altLang="nl-NL" dirty="0" smtClean="0"/>
              <a:t>Effect #1</a:t>
            </a:r>
            <a:r>
              <a:rPr lang="nl-NL" altLang="nl-NL" dirty="0"/>
              <a:t>: </a:t>
            </a:r>
            <a:r>
              <a:rPr lang="nl-NL" altLang="nl-NL" dirty="0" err="1"/>
              <a:t>Increase</a:t>
            </a:r>
            <a:r>
              <a:rPr lang="nl-NL" altLang="nl-NL" dirty="0"/>
              <a:t> in </a:t>
            </a:r>
            <a:r>
              <a:rPr lang="nl-NL" altLang="nl-NL" dirty="0" err="1"/>
              <a:t>Number</a:t>
            </a:r>
            <a:r>
              <a:rPr lang="nl-NL" altLang="nl-NL" dirty="0"/>
              <a:t> of Queries</a:t>
            </a:r>
            <a:endParaRPr lang="nl-NL" dirty="0"/>
          </a:p>
        </p:txBody>
      </p:sp>
      <p:sp>
        <p:nvSpPr>
          <p:cNvPr id="4" name="Tijdelijke aanduiding voor verticale tekst 3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lvl="2" indent="0">
              <a:buNone/>
            </a:pPr>
            <a:r>
              <a:rPr lang="en-GB" dirty="0" smtClean="0"/>
              <a:t>  </a:t>
            </a:r>
          </a:p>
          <a:p>
            <a:pPr marL="0" lvl="2" indent="0">
              <a:buNone/>
            </a:pPr>
            <a:r>
              <a:rPr lang="en-GB" dirty="0" smtClean="0"/>
              <a:t>NS1: 22%</a:t>
            </a:r>
          </a:p>
          <a:p>
            <a:pPr marL="0" lvl="2" indent="0">
              <a:buNone/>
            </a:pPr>
            <a:r>
              <a:rPr lang="en-GB" dirty="0" smtClean="0"/>
              <a:t>NS2: 30%</a:t>
            </a:r>
          </a:p>
          <a:p>
            <a:pPr marL="334963" lvl="2" indent="0">
              <a:buNone/>
            </a:pPr>
            <a:endParaRPr lang="en-GB" dirty="0" smtClean="0"/>
          </a:p>
          <a:p>
            <a:pPr marL="334963" lvl="2" indent="0">
              <a:buNone/>
            </a:pPr>
            <a:endParaRPr lang="en-GB" dirty="0" smtClean="0"/>
          </a:p>
          <a:p>
            <a:pPr marL="157163" lvl="1"/>
            <a:r>
              <a:rPr lang="en-GB" dirty="0" smtClean="0"/>
              <a:t>TLD-level TTL is most</a:t>
            </a:r>
          </a:p>
          <a:p>
            <a:pPr marL="157163" lvl="1"/>
            <a:r>
              <a:rPr lang="en-GB" dirty="0" smtClean="0"/>
              <a:t>likely overruled by TTL</a:t>
            </a:r>
          </a:p>
          <a:p>
            <a:pPr marL="157163" lvl="1"/>
            <a:r>
              <a:rPr lang="en-GB" dirty="0" smtClean="0"/>
              <a:t>from authoritatives</a:t>
            </a:r>
          </a:p>
          <a:p>
            <a:pPr marL="0" lvl="2" indent="0">
              <a:buNone/>
            </a:pPr>
            <a:endParaRPr lang="en-GB" dirty="0" smtClean="0"/>
          </a:p>
        </p:txBody>
      </p:sp>
      <p:cxnSp>
        <p:nvCxnSpPr>
          <p:cNvPr id="11" name="Straight Arrow Connector 10"/>
          <p:cNvCxnSpPr/>
          <p:nvPr/>
        </p:nvCxnSpPr>
        <p:spPr>
          <a:xfrm flipV="1">
            <a:off x="6667350" y="5386767"/>
            <a:ext cx="0" cy="667872"/>
          </a:xfrm>
          <a:prstGeom prst="straightConnector1">
            <a:avLst/>
          </a:prstGeom>
          <a:ln w="38100" cmpd="sng"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467108" y="6055360"/>
            <a:ext cx="13862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 smtClean="0">
                <a:solidFill>
                  <a:schemeClr val="bg2">
                    <a:lumMod val="75000"/>
                  </a:schemeClr>
                </a:solidFill>
              </a:rPr>
              <a:t>TTL change</a:t>
            </a:r>
            <a:endParaRPr lang="nl-NL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4142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ll-queries-last-year-ns1 (1)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00" y="1260000"/>
            <a:ext cx="9360000" cy="468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altLang="nl-NL" dirty="0"/>
              <a:t>Effect #1: Query </a:t>
            </a:r>
            <a:r>
              <a:rPr lang="nl-NL" altLang="nl-NL" dirty="0" err="1" smtClean="0"/>
              <a:t>Increase</a:t>
            </a:r>
            <a:r>
              <a:rPr lang="nl-NL" altLang="nl-NL" dirty="0" smtClean="0"/>
              <a:t> Last </a:t>
            </a:r>
            <a:r>
              <a:rPr lang="nl-NL" altLang="nl-NL" dirty="0" err="1"/>
              <a:t>Y</a:t>
            </a:r>
            <a:r>
              <a:rPr lang="nl-NL" altLang="nl-NL" dirty="0" err="1" smtClean="0"/>
              <a:t>ear</a:t>
            </a:r>
            <a:endParaRPr lang="nl-NL" dirty="0"/>
          </a:p>
        </p:txBody>
      </p:sp>
      <p:sp>
        <p:nvSpPr>
          <p:cNvPr id="4" name="Tijdelijke aanduiding voor verticale tekst 3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lvl="2" indent="0">
              <a:buNone/>
            </a:pPr>
            <a:endParaRPr lang="en-GB" dirty="0" smtClean="0"/>
          </a:p>
          <a:p>
            <a:pPr marL="0" lvl="2" indent="0">
              <a:buNone/>
            </a:pPr>
            <a:r>
              <a:rPr lang="en-GB" dirty="0" smtClean="0"/>
              <a:t>NS1: 7%</a:t>
            </a:r>
          </a:p>
          <a:p>
            <a:pPr marL="0" lvl="2" indent="0">
              <a:buNone/>
            </a:pPr>
            <a:r>
              <a:rPr lang="en-GB" dirty="0" smtClean="0"/>
              <a:t> </a:t>
            </a:r>
          </a:p>
          <a:p>
            <a:pPr marL="0" lvl="2" indent="0">
              <a:buNone/>
            </a:pPr>
            <a:endParaRPr lang="en-GB" dirty="0" smtClean="0"/>
          </a:p>
          <a:p>
            <a:pPr marL="0" lvl="2" indent="0">
              <a:buNone/>
            </a:pPr>
            <a:endParaRPr lang="en-GB" dirty="0" smtClean="0"/>
          </a:p>
          <a:p>
            <a:pPr marL="0" lvl="2" indent="0">
              <a:buNone/>
            </a:pPr>
            <a:r>
              <a:rPr lang="en-GB" dirty="0" smtClean="0"/>
              <a:t>Same period last year</a:t>
            </a:r>
          </a:p>
          <a:p>
            <a:pPr marL="0" lvl="2" indent="0">
              <a:buNone/>
            </a:pPr>
            <a:r>
              <a:rPr lang="en-GB" dirty="0" smtClean="0"/>
              <a:t>we see a smaller increase</a:t>
            </a:r>
          </a:p>
          <a:p>
            <a:pPr marL="0" lvl="2" indent="0">
              <a:buNone/>
            </a:pPr>
            <a:endParaRPr lang="en-GB" dirty="0" smtClean="0"/>
          </a:p>
          <a:p>
            <a:pPr marL="0" lvl="2" indent="0">
              <a:buNone/>
            </a:pPr>
            <a:endParaRPr lang="en-GB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3535680" y="57912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425941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mbined_len (1)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00" y="1260000"/>
            <a:ext cx="9360000" cy="468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altLang="nl-NL" dirty="0" smtClean="0"/>
              <a:t>Effect #2: Data Volume</a:t>
            </a:r>
            <a:endParaRPr lang="nl-NL" dirty="0"/>
          </a:p>
        </p:txBody>
      </p:sp>
      <p:sp>
        <p:nvSpPr>
          <p:cNvPr id="4" name="Tijdelijke aanduiding voor verticale tekst 3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lvl="2" indent="0">
              <a:buNone/>
            </a:pPr>
            <a:endParaRPr lang="nl-NL" dirty="0" smtClean="0"/>
          </a:p>
          <a:p>
            <a:pPr marL="0" lvl="2" indent="0">
              <a:buNone/>
            </a:pPr>
            <a:r>
              <a:rPr lang="nl-NL" dirty="0" smtClean="0"/>
              <a:t>Volume</a:t>
            </a:r>
          </a:p>
          <a:p>
            <a:pPr marL="0" lvl="2" indent="0">
              <a:buNone/>
            </a:pPr>
            <a:r>
              <a:rPr lang="nl-NL" dirty="0" smtClean="0"/>
              <a:t>NS1+NS2</a:t>
            </a:r>
          </a:p>
          <a:p>
            <a:pPr marL="0" lvl="2" indent="0">
              <a:buNone/>
            </a:pPr>
            <a:endParaRPr lang="nl-NL" dirty="0"/>
          </a:p>
          <a:p>
            <a:pPr marL="0" lvl="2" indent="0">
              <a:buNone/>
            </a:pPr>
            <a:r>
              <a:rPr lang="nl-NL" dirty="0" err="1" smtClean="0"/>
              <a:t>Request</a:t>
            </a:r>
            <a:r>
              <a:rPr lang="nl-NL" dirty="0" smtClean="0"/>
              <a:t>: +156%</a:t>
            </a:r>
          </a:p>
          <a:p>
            <a:pPr marL="0" lvl="2" indent="0">
              <a:buNone/>
            </a:pPr>
            <a:r>
              <a:rPr lang="nl-NL" dirty="0" smtClean="0"/>
              <a:t>Response: +47%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535680" y="57912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l-NL" dirty="0"/>
          </a:p>
        </p:txBody>
      </p:sp>
      <p:cxnSp>
        <p:nvCxnSpPr>
          <p:cNvPr id="6" name="Straight Arrow Connector 5"/>
          <p:cNvCxnSpPr/>
          <p:nvPr/>
        </p:nvCxnSpPr>
        <p:spPr>
          <a:xfrm flipH="1" flipV="1">
            <a:off x="6525026" y="5463408"/>
            <a:ext cx="7854" cy="602112"/>
          </a:xfrm>
          <a:prstGeom prst="straightConnector1">
            <a:avLst/>
          </a:prstGeom>
          <a:ln w="38100" cmpd="sng"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6339840" y="6156960"/>
            <a:ext cx="13862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 smtClean="0">
                <a:solidFill>
                  <a:schemeClr val="bg2">
                    <a:lumMod val="75000"/>
                  </a:schemeClr>
                </a:solidFill>
              </a:rPr>
              <a:t>TTL change</a:t>
            </a:r>
            <a:endParaRPr lang="nl-NL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406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res_len (1)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00" y="1260000"/>
            <a:ext cx="9360000" cy="468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altLang="nl-NL" dirty="0"/>
              <a:t>Effect </a:t>
            </a:r>
            <a:r>
              <a:rPr lang="nl-NL" altLang="nl-NL" dirty="0" smtClean="0"/>
              <a:t>#2: </a:t>
            </a:r>
            <a:r>
              <a:rPr lang="nl-NL" altLang="nl-NL" dirty="0"/>
              <a:t>Data Volume</a:t>
            </a:r>
            <a:endParaRPr lang="nl-NL" dirty="0"/>
          </a:p>
        </p:txBody>
      </p:sp>
      <p:sp>
        <p:nvSpPr>
          <p:cNvPr id="4" name="Tijdelijke aanduiding voor verticale tekst 3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0" lvl="2" indent="0">
              <a:buNone/>
            </a:pPr>
            <a:endParaRPr lang="en-GB" dirty="0" smtClean="0"/>
          </a:p>
          <a:p>
            <a:pPr marL="0" lvl="2" indent="0">
              <a:buNone/>
            </a:pPr>
            <a:r>
              <a:rPr lang="en-GB" dirty="0" smtClean="0"/>
              <a:t>Total volume</a:t>
            </a:r>
          </a:p>
          <a:p>
            <a:pPr marL="0" lvl="2" indent="0">
              <a:buNone/>
            </a:pPr>
            <a:r>
              <a:rPr lang="en-GB" dirty="0" smtClean="0"/>
              <a:t>NS1+NS2: +59%</a:t>
            </a:r>
          </a:p>
          <a:p>
            <a:pPr marL="0" lvl="2" indent="0">
              <a:buNone/>
            </a:pPr>
            <a:endParaRPr lang="en-GB" dirty="0" smtClean="0"/>
          </a:p>
          <a:p>
            <a:pPr marL="0" lvl="2" indent="0">
              <a:buNone/>
            </a:pPr>
            <a:endParaRPr lang="en-GB" dirty="0" smtClean="0"/>
          </a:p>
          <a:p>
            <a:pPr marL="0" lvl="2" indent="0">
              <a:buNone/>
            </a:pPr>
            <a:r>
              <a:rPr lang="en-GB" dirty="0" smtClean="0"/>
              <a:t>Total data volume has</a:t>
            </a:r>
          </a:p>
          <a:p>
            <a:pPr marL="0" lvl="2" indent="0">
              <a:buNone/>
            </a:pPr>
            <a:r>
              <a:rPr lang="en-GB" dirty="0" smtClean="0"/>
              <a:t>not doubled</a:t>
            </a:r>
          </a:p>
          <a:p>
            <a:pPr marL="0" lvl="2" indent="0">
              <a:buNone/>
            </a:pPr>
            <a:endParaRPr lang="en-GB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3535680" y="57912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l-NL" dirty="0"/>
          </a:p>
        </p:txBody>
      </p:sp>
      <p:cxnSp>
        <p:nvCxnSpPr>
          <p:cNvPr id="7" name="Straight Arrow Connector 6"/>
          <p:cNvCxnSpPr/>
          <p:nvPr/>
        </p:nvCxnSpPr>
        <p:spPr>
          <a:xfrm flipH="1" flipV="1">
            <a:off x="6525026" y="5452459"/>
            <a:ext cx="7854" cy="623221"/>
          </a:xfrm>
          <a:prstGeom prst="straightConnector1">
            <a:avLst/>
          </a:prstGeom>
          <a:ln w="38100" cmpd="sng"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339840" y="6167120"/>
            <a:ext cx="13862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 smtClean="0">
                <a:solidFill>
                  <a:schemeClr val="bg2">
                    <a:lumMod val="75000"/>
                  </a:schemeClr>
                </a:solidFill>
              </a:rPr>
              <a:t>TTL change</a:t>
            </a:r>
            <a:endParaRPr lang="nl-NL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557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e81d30f1fbfadb2cab35ac528d10b239959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SIDN">
      <a:dk1>
        <a:sysClr val="windowText" lastClr="000000"/>
      </a:dk1>
      <a:lt1>
        <a:sysClr val="window" lastClr="FFFFFF"/>
      </a:lt1>
      <a:dk2>
        <a:srgbClr val="002154"/>
      </a:dk2>
      <a:lt2>
        <a:srgbClr val="0062A9"/>
      </a:lt2>
      <a:accent1>
        <a:srgbClr val="642180"/>
      </a:accent1>
      <a:accent2>
        <a:srgbClr val="1CAACB"/>
      </a:accent2>
      <a:accent3>
        <a:srgbClr val="219550"/>
      </a:accent3>
      <a:accent4>
        <a:srgbClr val="F15936"/>
      </a:accent4>
      <a:accent5>
        <a:srgbClr val="003368"/>
      </a:accent5>
      <a:accent6>
        <a:srgbClr val="00B9B6"/>
      </a:accent6>
      <a:hlink>
        <a:srgbClr val="0062A9"/>
      </a:hlink>
      <a:folHlink>
        <a:srgbClr val="0062A9"/>
      </a:folHlink>
    </a:clrScheme>
    <a:fontScheme name="SIDN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343</TotalTime>
  <Words>857</Words>
  <Application>Microsoft Macintosh PowerPoint</Application>
  <PresentationFormat>Custom</PresentationFormat>
  <Paragraphs>183</Paragraphs>
  <Slides>17</Slides>
  <Notes>1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9" baseType="lpstr">
      <vt:lpstr>blank</vt:lpstr>
      <vt:lpstr>think-cell Slide</vt:lpstr>
      <vt:lpstr>ENTRADA: The Impact of a TTL Change at the TLD Level</vt:lpstr>
      <vt:lpstr>SIDN</vt:lpstr>
      <vt:lpstr>TTL Change for .nl</vt:lpstr>
      <vt:lpstr>ENTRADA</vt:lpstr>
      <vt:lpstr>ENTRADA@SIDN Labs</vt:lpstr>
      <vt:lpstr>Effect #1: Increase in Number of Queries</vt:lpstr>
      <vt:lpstr>Effect #1: Query Increase Last Year</vt:lpstr>
      <vt:lpstr>Effect #2: Data Volume</vt:lpstr>
      <vt:lpstr>Effect #2: Data Volume</vt:lpstr>
      <vt:lpstr>Effect #3: Qtype Distribution</vt:lpstr>
      <vt:lpstr>Effect #3: Qtype Distribution</vt:lpstr>
      <vt:lpstr>Effect #4: Increase in NXDOMAIN Responses</vt:lpstr>
      <vt:lpstr>Effect #4: Increase in NXDOMAIN Responses</vt:lpstr>
      <vt:lpstr>Effect #5: Domainer Activity</vt:lpstr>
      <vt:lpstr>Conclusions and Discussion</vt:lpstr>
      <vt:lpstr>Now Available as Open Source!</vt:lpstr>
      <vt:lpstr>Questions?</vt:lpstr>
    </vt:vector>
  </TitlesOfParts>
  <Company>SID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ristian Hesselman</dc:creator>
  <cp:lastModifiedBy>Maarten Wullink</cp:lastModifiedBy>
  <cp:revision>118</cp:revision>
  <dcterms:created xsi:type="dcterms:W3CDTF">2016-03-01T11:48:30Z</dcterms:created>
  <dcterms:modified xsi:type="dcterms:W3CDTF">2016-03-29T12:08:48Z</dcterms:modified>
</cp:coreProperties>
</file>